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9" r:id="rId1"/>
    <p:sldMasterId id="2147484161" r:id="rId2"/>
  </p:sldMasterIdLst>
  <p:notesMasterIdLst>
    <p:notesMasterId r:id="rId48"/>
  </p:notesMasterIdLst>
  <p:sldIdLst>
    <p:sldId id="338" r:id="rId3"/>
    <p:sldId id="306" r:id="rId4"/>
    <p:sldId id="307" r:id="rId5"/>
    <p:sldId id="308" r:id="rId6"/>
    <p:sldId id="309" r:id="rId7"/>
    <p:sldId id="260" r:id="rId8"/>
    <p:sldId id="310" r:id="rId9"/>
    <p:sldId id="332" r:id="rId10"/>
    <p:sldId id="268" r:id="rId11"/>
    <p:sldId id="269" r:id="rId12"/>
    <p:sldId id="347" r:id="rId13"/>
    <p:sldId id="271" r:id="rId14"/>
    <p:sldId id="356" r:id="rId15"/>
    <p:sldId id="329" r:id="rId16"/>
    <p:sldId id="355" r:id="rId17"/>
    <p:sldId id="354" r:id="rId18"/>
    <p:sldId id="318" r:id="rId19"/>
    <p:sldId id="274" r:id="rId20"/>
    <p:sldId id="357" r:id="rId21"/>
    <p:sldId id="336" r:id="rId22"/>
    <p:sldId id="275" r:id="rId23"/>
    <p:sldId id="278" r:id="rId24"/>
    <p:sldId id="321" r:id="rId25"/>
    <p:sldId id="322" r:id="rId26"/>
    <p:sldId id="323" r:id="rId27"/>
    <p:sldId id="324" r:id="rId28"/>
    <p:sldId id="325" r:id="rId29"/>
    <p:sldId id="326" r:id="rId30"/>
    <p:sldId id="353" r:id="rId31"/>
    <p:sldId id="340" r:id="rId32"/>
    <p:sldId id="286" r:id="rId33"/>
    <p:sldId id="294" r:id="rId34"/>
    <p:sldId id="295" r:id="rId35"/>
    <p:sldId id="316" r:id="rId36"/>
    <p:sldId id="339" r:id="rId37"/>
    <p:sldId id="288" r:id="rId38"/>
    <p:sldId id="292" r:id="rId39"/>
    <p:sldId id="313" r:id="rId40"/>
    <p:sldId id="314" r:id="rId41"/>
    <p:sldId id="289" r:id="rId42"/>
    <p:sldId id="290" r:id="rId43"/>
    <p:sldId id="351" r:id="rId44"/>
    <p:sldId id="291" r:id="rId45"/>
    <p:sldId id="301" r:id="rId46"/>
    <p:sldId id="298" r:id="rId47"/>
  </p:sldIdLst>
  <p:sldSz cx="12190413" cy="6858000"/>
  <p:notesSz cx="6797675" cy="987425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omic Sans MS" pitchFamily="66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8F5FC"/>
    <a:srgbClr val="F5EBD7"/>
    <a:srgbClr val="F3C3AB"/>
    <a:srgbClr val="612A0F"/>
    <a:srgbClr val="D0CABA"/>
    <a:srgbClr val="2F6719"/>
    <a:srgbClr val="1E517C"/>
    <a:srgbClr val="FFECC5"/>
    <a:srgbClr val="F0B394"/>
    <a:srgbClr val="4920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3" autoAdjust="0"/>
    <p:restoredTop sz="92914" autoAdjust="0"/>
  </p:normalViewPr>
  <p:slideViewPr>
    <p:cSldViewPr>
      <p:cViewPr varScale="1">
        <p:scale>
          <a:sx n="106" d="100"/>
          <a:sy n="106" d="100"/>
        </p:scale>
        <p:origin x="768" y="108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51" Type="http://schemas.openxmlformats.org/officeDocument/2006/relationships/theme" Target="theme/theme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line3D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Lbls>
            <c:dLbl>
              <c:idx val="0"/>
              <c:layout>
                <c:manualLayout>
                  <c:x val="-2.0315144367955382E-2"/>
                  <c:y val="3.9848939481107355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818-4088-9B5E-5246A7FE522D}"/>
                </c:ext>
              </c:extLst>
            </c:dLbl>
            <c:dLbl>
              <c:idx val="1"/>
              <c:layout>
                <c:manualLayout>
                  <c:x val="-9.3762204775179291E-3"/>
                  <c:y val="5.625732632626923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818-4088-9B5E-5246A7FE522D}"/>
                </c:ext>
              </c:extLst>
            </c:dLbl>
            <c:dLbl>
              <c:idx val="2"/>
              <c:layout>
                <c:manualLayout>
                  <c:x val="-1.5627034129196443E-2"/>
                  <c:y val="5.3913271062674697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818-4088-9B5E-5246A7FE522D}"/>
                </c:ext>
              </c:extLst>
            </c:dLbl>
            <c:dLbl>
              <c:idx val="3"/>
              <c:layout>
                <c:manualLayout>
                  <c:x val="-1.2501627303357162E-2"/>
                  <c:y val="3.9848939481107397E-2"/>
                </c:manualLayout>
              </c:layout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818-4088-9B5E-5246A7FE522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  <c:pt idx="5">
                  <c:v>2023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58.39</c:v>
                </c:pt>
                <c:pt idx="1">
                  <c:v>60.75</c:v>
                </c:pt>
                <c:pt idx="2">
                  <c:v>73.16</c:v>
                </c:pt>
                <c:pt idx="3">
                  <c:v>71.459999999999994</c:v>
                </c:pt>
                <c:pt idx="4">
                  <c:v>72.06</c:v>
                </c:pt>
                <c:pt idx="5">
                  <c:v>57.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818-4088-9B5E-5246A7FE522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cat>
            <c:strRef>
              <c:f>Лист1!$A$2:$A$7</c:f>
              <c:strCache>
                <c:ptCount val="6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  <c:pt idx="5">
                  <c:v>2023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818-4088-9B5E-5246A7FE522D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cat>
            <c:strRef>
              <c:f>Лист1!$A$2:$A$7</c:f>
              <c:strCache>
                <c:ptCount val="6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  <c:pt idx="4">
                  <c:v>2022 год</c:v>
                </c:pt>
                <c:pt idx="5">
                  <c:v>2023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818-4088-9B5E-5246A7FE52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5364096"/>
        <c:axId val="125389824"/>
        <c:axId val="98438208"/>
      </c:line3DChart>
      <c:catAx>
        <c:axId val="125364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25389824"/>
        <c:crosses val="autoZero"/>
        <c:auto val="1"/>
        <c:lblAlgn val="ctr"/>
        <c:lblOffset val="100"/>
        <c:noMultiLvlLbl val="0"/>
      </c:catAx>
      <c:valAx>
        <c:axId val="1253898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5364096"/>
        <c:crosses val="autoZero"/>
        <c:crossBetween val="between"/>
      </c:valAx>
      <c:serAx>
        <c:axId val="98438208"/>
        <c:scaling>
          <c:orientation val="minMax"/>
        </c:scaling>
        <c:delete val="1"/>
        <c:axPos val="b"/>
        <c:majorTickMark val="out"/>
        <c:minorTickMark val="none"/>
        <c:tickLblPos val="nextTo"/>
        <c:crossAx val="125389824"/>
        <c:crosses val="autoZero"/>
      </c:serAx>
      <c:spPr>
        <a:noFill/>
        <a:ln w="25392">
          <a:noFill/>
        </a:ln>
      </c:spPr>
    </c:plotArea>
    <c:plotVisOnly val="1"/>
    <c:dispBlanksAs val="gap"/>
    <c:showDLblsOverMax val="0"/>
  </c:chart>
  <c:txPr>
    <a:bodyPr/>
    <a:lstStyle/>
    <a:p>
      <a:pPr>
        <a:defRPr sz="1799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Безвозмедные поступления </a:t>
            </a:r>
          </a:p>
          <a:p>
            <a:pPr>
              <a:defRPr/>
            </a:pPr>
            <a:r>
              <a:rPr lang="ru-RU"/>
              <a:t>2024 г (оценка)</a:t>
            </a:r>
          </a:p>
        </c:rich>
      </c:tx>
      <c:overlay val="0"/>
    </c:title>
    <c:autoTitleDeleted val="0"/>
    <c:view3D>
      <c:rotX val="75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F5EBD7"/>
              </a:solidFill>
            </c:spPr>
            <c:extLst>
              <c:ext xmlns:c16="http://schemas.microsoft.com/office/drawing/2014/chart" uri="{C3380CC4-5D6E-409C-BE32-E72D297353CC}">
                <c16:uniqueId val="{00000001-07F8-4109-9F97-A604ECB14705}"/>
              </c:ext>
            </c:extLst>
          </c:dPt>
          <c:dPt>
            <c:idx val="1"/>
            <c:bubble3D val="0"/>
            <c:spPr>
              <a:solidFill>
                <a:srgbClr val="F3C3AB"/>
              </a:solidFill>
            </c:spPr>
            <c:extLst>
              <c:ext xmlns:c16="http://schemas.microsoft.com/office/drawing/2014/chart" uri="{C3380CC4-5D6E-409C-BE32-E72D297353CC}">
                <c16:uniqueId val="{00000003-07F8-4109-9F97-A604ECB14705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07F8-4109-9F97-A604ECB14705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07F8-4109-9F97-A604ECB14705}"/>
              </c:ext>
            </c:extLst>
          </c:dPt>
          <c:dPt>
            <c:idx val="4"/>
            <c:bubble3D val="0"/>
            <c:spPr>
              <a:solidFill>
                <a:schemeClr val="tx1"/>
              </a:solidFill>
            </c:spPr>
            <c:extLst>
              <c:ext xmlns:c16="http://schemas.microsoft.com/office/drawing/2014/chart" uri="{C3380CC4-5D6E-409C-BE32-E72D297353CC}">
                <c16:uniqueId val="{00000009-07F8-4109-9F97-A604ECB1470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5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Иные трансфетры</c:v>
                </c:pt>
                <c:pt idx="4">
                  <c:v>Прочи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64.8</c:v>
                </c:pt>
                <c:pt idx="1">
                  <c:v>1002.4</c:v>
                </c:pt>
                <c:pt idx="2">
                  <c:v>1319.8</c:v>
                </c:pt>
                <c:pt idx="3">
                  <c:v>72.3</c:v>
                </c:pt>
                <c:pt idx="4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7F8-4109-9F97-A604ECB147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Безвозмедные поступления </a:t>
            </a:r>
          </a:p>
          <a:p>
            <a:pPr>
              <a:defRPr/>
            </a:pPr>
            <a:r>
              <a:rPr lang="ru-RU"/>
              <a:t>2025 г (план)</a:t>
            </a:r>
          </a:p>
        </c:rich>
      </c:tx>
      <c:overlay val="0"/>
    </c:title>
    <c:autoTitleDeleted val="0"/>
    <c:view3D>
      <c:rotX val="75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F5EBD7"/>
              </a:solidFill>
            </c:spPr>
            <c:extLst>
              <c:ext xmlns:c16="http://schemas.microsoft.com/office/drawing/2014/chart" uri="{C3380CC4-5D6E-409C-BE32-E72D297353CC}">
                <c16:uniqueId val="{00000001-6F33-46E7-9BCD-A27C09668913}"/>
              </c:ext>
            </c:extLst>
          </c:dPt>
          <c:dPt>
            <c:idx val="1"/>
            <c:bubble3D val="0"/>
            <c:spPr>
              <a:solidFill>
                <a:srgbClr val="F3C3AB"/>
              </a:solidFill>
            </c:spPr>
            <c:extLst>
              <c:ext xmlns:c16="http://schemas.microsoft.com/office/drawing/2014/chart" uri="{C3380CC4-5D6E-409C-BE32-E72D297353CC}">
                <c16:uniqueId val="{00000003-6F33-46E7-9BCD-A27C09668913}"/>
              </c:ext>
            </c:extLst>
          </c:dPt>
          <c:dPt>
            <c:idx val="2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6F33-46E7-9BCD-A27C09668913}"/>
              </c:ext>
            </c:extLst>
          </c:dPt>
          <c:dPt>
            <c:idx val="3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7-6F33-46E7-9BCD-A27C09668913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6</c:f>
              <c:strCache>
                <c:ptCount val="4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Иные трансфетры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7.8</c:v>
                </c:pt>
                <c:pt idx="1">
                  <c:v>187.4</c:v>
                </c:pt>
                <c:pt idx="2">
                  <c:v>1180.9000000000001</c:v>
                </c:pt>
                <c:pt idx="3">
                  <c:v>2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F33-46E7-9BCD-A27C096689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egendEntry>
        <c:idx val="4"/>
        <c:delete val="1"/>
      </c:legendEntry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view3D>
      <c:rotX val="75"/>
      <c:rotY val="0"/>
      <c:rAngAx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4657614143179565"/>
          <c:y val="0.16365695507959543"/>
          <c:w val="0.50059702653224303"/>
          <c:h val="0.7508955859962815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>
              <a:solidFill>
                <a:schemeClr val="tx1">
                  <a:lumMod val="95000"/>
                  <a:lumOff val="5000"/>
                </a:schemeClr>
              </a:solidFill>
            </a:ln>
          </c:spPr>
          <c:explosion val="9"/>
          <c:dPt>
            <c:idx val="2"/>
            <c:bubble3D val="0"/>
            <c:explosion val="7"/>
            <c:extLst>
              <c:ext xmlns:c16="http://schemas.microsoft.com/office/drawing/2014/chart" uri="{C3380CC4-5D6E-409C-BE32-E72D297353CC}">
                <c16:uniqueId val="{00000000-62E6-454D-9F15-59CE63E6718C}"/>
              </c:ext>
            </c:extLst>
          </c:dPt>
          <c:dLbls>
            <c:dLbl>
              <c:idx val="3"/>
              <c:layout>
                <c:manualLayout>
                  <c:x val="-3.7504881910071466E-2"/>
                  <c:y val="1.17202763179728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E6-454D-9F15-59CE63E6718C}"/>
                </c:ext>
              </c:extLst>
            </c:dLbl>
            <c:spPr>
              <a:noFill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numRef>
              <c:f>Лист1!$A$2:$A$8</c:f>
              <c:numCache>
                <c:formatCode>General</c:formatCode>
                <c:ptCount val="7"/>
                <c:pt idx="0">
                  <c:v>435.2</c:v>
                </c:pt>
                <c:pt idx="1">
                  <c:v>355.6</c:v>
                </c:pt>
                <c:pt idx="2">
                  <c:v>1656.3</c:v>
                </c:pt>
                <c:pt idx="3">
                  <c:v>100.7</c:v>
                </c:pt>
                <c:pt idx="4">
                  <c:v>148.4</c:v>
                </c:pt>
                <c:pt idx="5">
                  <c:v>213</c:v>
                </c:pt>
                <c:pt idx="6">
                  <c:v>21.7</c:v>
                </c:pt>
              </c:numCache>
            </c:numRef>
          </c:cat>
          <c:val>
            <c:numRef>
              <c:f>Лист1!$B$2:$B$8</c:f>
              <c:numCache>
                <c:formatCode>0.0</c:formatCode>
                <c:ptCount val="7"/>
                <c:pt idx="0">
                  <c:v>14.848681292435769</c:v>
                </c:pt>
                <c:pt idx="1">
                  <c:v>12.132791975161213</c:v>
                </c:pt>
                <c:pt idx="2">
                  <c:v>56.5116517110785</c:v>
                </c:pt>
                <c:pt idx="3">
                  <c:v>3.4358047016274864</c:v>
                </c:pt>
                <c:pt idx="4">
                  <c:v>5.0632911392405067</c:v>
                </c:pt>
                <c:pt idx="5">
                  <c:v>7.2673922685864412</c:v>
                </c:pt>
                <c:pt idx="6">
                  <c:v>0.740386911870073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6-454D-9F15-59CE63E671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 prstMaterial="plastic">
              <a:bevelT w="82550" h="63500" prst="divot"/>
              <a:bevelB/>
            </a:sp3d>
          </c:spPr>
          <c:explosion val="25"/>
          <c:dPt>
            <c:idx val="0"/>
            <c:bubble3D val="0"/>
            <c:explosion val="21"/>
            <c:spPr>
              <a:solidFill>
                <a:schemeClr val="accent6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 prstMaterial="plastic">
                <a:bevelT w="82550" h="63500" prst="divot"/>
                <a:bevelB/>
              </a:sp3d>
            </c:spPr>
            <c:extLst>
              <c:ext xmlns:c16="http://schemas.microsoft.com/office/drawing/2014/chart" uri="{C3380CC4-5D6E-409C-BE32-E72D297353CC}">
                <c16:uniqueId val="{00000001-F5FC-42E5-9E2A-F56B84E70B7E}"/>
              </c:ext>
            </c:extLst>
          </c:dPt>
          <c:dPt>
            <c:idx val="1"/>
            <c:bubble3D val="0"/>
            <c:explosion val="4"/>
            <c:spPr>
              <a:solidFill>
                <a:schemeClr val="accent5">
                  <a:lumMod val="75000"/>
                </a:schemeClr>
              </a:solidFill>
              <a:scene3d>
                <a:camera prst="orthographicFront"/>
                <a:lightRig rig="threePt" dir="t"/>
              </a:scene3d>
              <a:sp3d prstMaterial="plastic">
                <a:bevelT w="82550" h="63500" prst="divot"/>
                <a:bevelB/>
              </a:sp3d>
            </c:spPr>
            <c:extLst>
              <c:ext xmlns:c16="http://schemas.microsoft.com/office/drawing/2014/chart" uri="{C3380CC4-5D6E-409C-BE32-E72D297353CC}">
                <c16:uniqueId val="{00000003-F5FC-42E5-9E2A-F56B84E70B7E}"/>
              </c:ext>
            </c:extLst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4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.2</c:v>
                </c:pt>
                <c:pt idx="1">
                  <c:v>13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FC-42E5-9E2A-F56B84E70B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5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образовани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3.3922258967214125E-2"/>
                  <c:y val="2.409638554216867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D84-4FBD-BEE9-EFDD0ED99971}"/>
                </c:ext>
              </c:extLst>
            </c:dLbl>
            <c:dLbl>
              <c:idx val="1"/>
              <c:layout>
                <c:manualLayout>
                  <c:x val="1.1307419655738041E-2"/>
                  <c:y val="3.3734939759036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D84-4FBD-BEE9-EFDD0ED99971}"/>
                </c:ext>
              </c:extLst>
            </c:dLbl>
            <c:dLbl>
              <c:idx val="2"/>
              <c:layout>
                <c:manualLayout>
                  <c:x val="1.6961129483607063E-2"/>
                  <c:y val="4.09638554216867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D84-4FBD-BEE9-EFDD0ED99971}"/>
                </c:ext>
              </c:extLst>
            </c:dLbl>
            <c:dLbl>
              <c:idx val="3"/>
              <c:layout>
                <c:manualLayout>
                  <c:x val="2.8268549139345102E-2"/>
                  <c:y val="6.02409638554216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D84-4FBD-BEE9-EFDD0ED999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24 г</c:v>
                </c:pt>
                <c:pt idx="1">
                  <c:v>2025 г</c:v>
                </c:pt>
                <c:pt idx="2">
                  <c:v>2026 г</c:v>
                </c:pt>
                <c:pt idx="3">
                  <c:v>2027 г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1522.29</c:v>
                </c:pt>
                <c:pt idx="1">
                  <c:v>1459.5</c:v>
                </c:pt>
                <c:pt idx="2">
                  <c:v>1389.2</c:v>
                </c:pt>
                <c:pt idx="3">
                  <c:v>129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84-4FBD-BEE9-EFDD0ED99971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цзащита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24 г</c:v>
                </c:pt>
                <c:pt idx="1">
                  <c:v>2025 г</c:v>
                </c:pt>
                <c:pt idx="2">
                  <c:v>2026 г</c:v>
                </c:pt>
                <c:pt idx="3">
                  <c:v>2027 г</c:v>
                </c:pt>
              </c:strCache>
            </c:strRef>
          </c:cat>
          <c:val>
            <c:numRef>
              <c:f>Лист1!$C$2:$C$5</c:f>
              <c:numCache>
                <c:formatCode>#,##0.00</c:formatCode>
                <c:ptCount val="4"/>
                <c:pt idx="0">
                  <c:v>523.91999999999996</c:v>
                </c:pt>
                <c:pt idx="1">
                  <c:v>482.1</c:v>
                </c:pt>
                <c:pt idx="2">
                  <c:v>489.7</c:v>
                </c:pt>
                <c:pt idx="3">
                  <c:v>49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D84-4FBD-BEE9-EFDD0ED99971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ультура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2.0730269368853076E-2"/>
                  <c:y val="9.638554216867470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D84-4FBD-BEE9-EFDD0ED99971}"/>
                </c:ext>
              </c:extLst>
            </c:dLbl>
            <c:dLbl>
              <c:idx val="3"/>
              <c:layout>
                <c:manualLayout>
                  <c:x val="1.6961129483607063E-2"/>
                  <c:y val="7.22891566265060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D84-4FBD-BEE9-EFDD0ED999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24 г</c:v>
                </c:pt>
                <c:pt idx="1">
                  <c:v>2025 г</c:v>
                </c:pt>
                <c:pt idx="2">
                  <c:v>2026 г</c:v>
                </c:pt>
                <c:pt idx="3">
                  <c:v>2027 г</c:v>
                </c:pt>
              </c:strCache>
            </c:strRef>
          </c:cat>
          <c:val>
            <c:numRef>
              <c:f>Лист1!$D$2:$D$5</c:f>
              <c:numCache>
                <c:formatCode>#,##0.00</c:formatCode>
                <c:ptCount val="4"/>
                <c:pt idx="0">
                  <c:v>140.44</c:v>
                </c:pt>
                <c:pt idx="1">
                  <c:v>182.7</c:v>
                </c:pt>
                <c:pt idx="2">
                  <c:v>175.6</c:v>
                </c:pt>
                <c:pt idx="3">
                  <c:v>17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84-4FBD-BEE9-EFDD0ED99971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физкультура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9.4228497131150345E-3"/>
                  <c:y val="-2.16867469879518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D84-4FBD-BEE9-EFDD0ED99971}"/>
                </c:ext>
              </c:extLst>
            </c:dLbl>
            <c:dLbl>
              <c:idx val="1"/>
              <c:layout>
                <c:manualLayout>
                  <c:x val="1.8845699426230068E-3"/>
                  <c:y val="-2.8915662650602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D84-4FBD-BEE9-EFDD0ED99971}"/>
                </c:ext>
              </c:extLst>
            </c:dLbl>
            <c:dLbl>
              <c:idx val="2"/>
              <c:layout>
                <c:manualLayout>
                  <c:x val="3.7691398852460136E-3"/>
                  <c:y val="-2.8915662650602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D84-4FBD-BEE9-EFDD0ED99971}"/>
                </c:ext>
              </c:extLst>
            </c:dLbl>
            <c:dLbl>
              <c:idx val="3"/>
              <c:layout>
                <c:manualLayout>
                  <c:x val="6.9100099645929259E-17"/>
                  <c:y val="-4.33734939759036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D84-4FBD-BEE9-EFDD0ED999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24 г</c:v>
                </c:pt>
                <c:pt idx="1">
                  <c:v>2025 г</c:v>
                </c:pt>
                <c:pt idx="2">
                  <c:v>2026 г</c:v>
                </c:pt>
                <c:pt idx="3">
                  <c:v>2027 г</c:v>
                </c:pt>
              </c:strCache>
            </c:strRef>
          </c:cat>
          <c:val>
            <c:numRef>
              <c:f>Лист1!$E$2:$E$5</c:f>
              <c:numCache>
                <c:formatCode>#,##0.00</c:formatCode>
                <c:ptCount val="4"/>
                <c:pt idx="0">
                  <c:v>28.81</c:v>
                </c:pt>
                <c:pt idx="1">
                  <c:v>42.1</c:v>
                </c:pt>
                <c:pt idx="2">
                  <c:v>35.4</c:v>
                </c:pt>
                <c:pt idx="3">
                  <c:v>34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0D84-4FBD-BEE9-EFDD0ED999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79189248"/>
        <c:axId val="179190784"/>
        <c:axId val="0"/>
      </c:bar3DChart>
      <c:catAx>
        <c:axId val="179189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79190784"/>
        <c:crosses val="autoZero"/>
        <c:auto val="1"/>
        <c:lblAlgn val="ctr"/>
        <c:lblOffset val="100"/>
        <c:noMultiLvlLbl val="0"/>
      </c:catAx>
      <c:valAx>
        <c:axId val="17919078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79189248"/>
        <c:crosses val="autoZero"/>
        <c:crossBetween val="between"/>
      </c:valAx>
      <c:spPr>
        <a:noFill/>
        <a:ln w="25401">
          <a:noFill/>
        </a:ln>
      </c:spPr>
    </c:plotArea>
    <c:legend>
      <c:legendPos val="r"/>
      <c:layout>
        <c:manualLayout>
          <c:xMode val="edge"/>
          <c:yMode val="edge"/>
          <c:x val="0.79781514598810743"/>
          <c:y val="0.36754976927523048"/>
          <c:w val="0.20218482496796972"/>
          <c:h val="0.2529687885399867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0.30314194721403021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0123502362056305"/>
          <c:y val="0.12749470987433942"/>
          <c:w val="0.59294662106176688"/>
          <c:h val="0.77120889650251567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Объем средств</c:v>
                </c:pt>
              </c:strCache>
            </c:strRef>
          </c:tx>
          <c:explosion val="22"/>
          <c:dPt>
            <c:idx val="0"/>
            <c:bubble3D val="0"/>
            <c:explosion val="51"/>
            <c:extLst>
              <c:ext xmlns:c16="http://schemas.microsoft.com/office/drawing/2014/chart" uri="{C3380CC4-5D6E-409C-BE32-E72D297353CC}">
                <c16:uniqueId val="{00000000-DC92-4557-9F20-4D99D0724116}"/>
              </c:ext>
            </c:extLst>
          </c:dPt>
          <c:dPt>
            <c:idx val="1"/>
            <c:bubble3D val="0"/>
            <c:explosion val="45"/>
            <c:extLst>
              <c:ext xmlns:c16="http://schemas.microsoft.com/office/drawing/2014/chart" uri="{C3380CC4-5D6E-409C-BE32-E72D297353CC}">
                <c16:uniqueId val="{00000001-DC92-4557-9F20-4D99D0724116}"/>
              </c:ext>
            </c:extLst>
          </c:dPt>
          <c:dPt>
            <c:idx val="2"/>
            <c:bubble3D val="0"/>
            <c:explosion val="30"/>
            <c:spPr>
              <a:solidFill>
                <a:schemeClr val="accent1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DC92-4557-9F20-4D99D0724116}"/>
              </c:ext>
            </c:extLst>
          </c:dPt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краев бюд</c:v>
                </c:pt>
                <c:pt idx="1">
                  <c:v>местн бюд</c:v>
                </c:pt>
                <c:pt idx="2">
                  <c:v>внебюджет</c:v>
                </c:pt>
              </c:strCache>
            </c:strRef>
          </c:cat>
          <c:val>
            <c:numRef>
              <c:f>Лист1!$B$2:$B$4</c:f>
              <c:numCache>
                <c:formatCode>#,##0.00</c:formatCode>
                <c:ptCount val="3"/>
                <c:pt idx="0">
                  <c:v>39736.83</c:v>
                </c:pt>
                <c:pt idx="1">
                  <c:v>22514.94</c:v>
                </c:pt>
                <c:pt idx="2">
                  <c:v>6310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C92-4557-9F20-4D99D07241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69375184075460128"/>
          <c:y val="0.70679424258629042"/>
          <c:w val="0.28476385327369613"/>
          <c:h val="0.27005382827355734"/>
        </c:manualLayout>
      </c:layout>
      <c:overlay val="0"/>
      <c:spPr>
        <a:noFill/>
      </c:sp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102201098569855"/>
          <c:y val="3.6383330865515873E-2"/>
          <c:w val="0.68387111053061611"/>
          <c:h val="0.89913495970936619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4 год 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circle">
                <a:fillToRect l="100000" b="100000"/>
              </a:path>
              <a:tileRect t="-100000" r="-100000"/>
            </a:gra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3.29</c:v>
                </c:pt>
                <c:pt idx="1">
                  <c:v>56.37</c:v>
                </c:pt>
                <c:pt idx="2">
                  <c:v>36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EC-4DE5-81E3-4E21638D2D8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5 год 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0.64</c:v>
                </c:pt>
                <c:pt idx="1">
                  <c:v>40.11</c:v>
                </c:pt>
                <c:pt idx="2">
                  <c:v>31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EC-4DE5-81E3-4E21638D2D8F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6 год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</c:spPr>
          <c:invertIfNegative val="0"/>
          <c:dLbls>
            <c:dLbl>
              <c:idx val="2"/>
              <c:layout>
                <c:manualLayout>
                  <c:x val="3.6199095022624438E-2"/>
                  <c:y val="1.74339432010367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EEC-4DE5-81E3-4E21638D2D8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27.46</c:v>
                </c:pt>
                <c:pt idx="1">
                  <c:v>34.11</c:v>
                </c:pt>
                <c:pt idx="2">
                  <c:v>31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EC-4DE5-81E3-4E21638D2D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83685888"/>
        <c:axId val="183687424"/>
        <c:axId val="0"/>
      </c:bar3DChart>
      <c:catAx>
        <c:axId val="183685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83687424"/>
        <c:crosses val="autoZero"/>
        <c:auto val="1"/>
        <c:lblAlgn val="ctr"/>
        <c:lblOffset val="100"/>
        <c:noMultiLvlLbl val="0"/>
      </c:catAx>
      <c:valAx>
        <c:axId val="18368742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3685888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400" baseline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 baseline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00" baseline="0"/>
            </a:pPr>
            <a:endParaRPr lang="ru-RU"/>
          </a:p>
        </c:txPr>
      </c:legendEntry>
      <c:layout>
        <c:manualLayout>
          <c:xMode val="edge"/>
          <c:yMode val="edge"/>
          <c:x val="0.75338139293674267"/>
          <c:y val="0.39065485734367106"/>
          <c:w val="0.15327498089888086"/>
          <c:h val="0.14983804964967384"/>
        </c:manualLayout>
      </c:layout>
      <c:overlay val="0"/>
      <c:txPr>
        <a:bodyPr/>
        <a:lstStyle/>
        <a:p>
          <a:pPr>
            <a:defRPr sz="14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799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1366180420709"/>
          <c:y val="5.888163174358578E-2"/>
          <c:w val="0.71957074428619761"/>
          <c:h val="0.89871155700226857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4 год </c:v>
                </c:pt>
              </c:strCache>
            </c:strRef>
          </c:tx>
          <c:spPr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1"/>
              <a:tileRect/>
            </a:gra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9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2.85</c:v>
                </c:pt>
                <c:pt idx="1">
                  <c:v>52.17</c:v>
                </c:pt>
                <c:pt idx="2">
                  <c:v>36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56-4E7E-A4EC-8AFE72CDA6CB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5 год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9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9.49</c:v>
                </c:pt>
                <c:pt idx="1">
                  <c:v>40.11</c:v>
                </c:pt>
                <c:pt idx="2">
                  <c:v>32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56-4E7E-A4EC-8AFE72CDA6CB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6 год </c:v>
                </c:pt>
              </c:strCache>
            </c:strRef>
          </c:tx>
          <c:spPr>
            <a:gradFill flip="none" rotWithShape="1">
              <a:gsLst>
                <a:gs pos="0">
                  <a:srgbClr val="00B0F0">
                    <a:tint val="66000"/>
                    <a:satMod val="160000"/>
                  </a:srgbClr>
                </a:gs>
                <a:gs pos="50000">
                  <a:srgbClr val="00B0F0">
                    <a:tint val="44500"/>
                    <a:satMod val="160000"/>
                  </a:srgbClr>
                </a:gs>
                <a:gs pos="100000">
                  <a:srgbClr val="00B0F0">
                    <a:tint val="23500"/>
                    <a:satMod val="160000"/>
                  </a:srgbClr>
                </a:gs>
              </a:gsLst>
              <a:lin ang="16200000" scaled="1"/>
              <a:tileRect/>
            </a:gradFill>
          </c:spPr>
          <c:invertIfNegative val="0"/>
          <c:dLbls>
            <c:dLbl>
              <c:idx val="0"/>
              <c:layout>
                <c:manualLayout>
                  <c:x val="2.4333177351427236E-2"/>
                  <c:y val="2.1917810320623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256-4E7E-A4EC-8AFE72CDA6CB}"/>
                </c:ext>
              </c:extLst>
            </c:dLbl>
            <c:dLbl>
              <c:idx val="2"/>
              <c:layout>
                <c:manualLayout>
                  <c:x val="3.5563874590547495E-2"/>
                  <c:y val="2.43531225784702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256-4E7E-A4EC-8AFE72CDA6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9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Изобильненский МО</c:v>
                </c:pt>
                <c:pt idx="1">
                  <c:v>Кочубеевский МО</c:v>
                </c:pt>
                <c:pt idx="2">
                  <c:v>Буденовский МО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27.46</c:v>
                </c:pt>
                <c:pt idx="1">
                  <c:v>34.11</c:v>
                </c:pt>
                <c:pt idx="2">
                  <c:v>31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256-4E7E-A4EC-8AFE72CDA6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83757056"/>
        <c:axId val="184229888"/>
        <c:axId val="0"/>
      </c:bar3DChart>
      <c:catAx>
        <c:axId val="183757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4"/>
            </a:pPr>
            <a:endParaRPr lang="ru-RU"/>
          </a:p>
        </c:txPr>
        <c:crossAx val="184229888"/>
        <c:crosses val="autoZero"/>
        <c:auto val="1"/>
        <c:lblAlgn val="ctr"/>
        <c:lblOffset val="100"/>
        <c:noMultiLvlLbl val="0"/>
      </c:catAx>
      <c:valAx>
        <c:axId val="1842298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83757056"/>
        <c:crosses val="autoZero"/>
        <c:crossBetween val="between"/>
      </c:valAx>
      <c:spPr>
        <a:noFill/>
        <a:ln w="25541">
          <a:noFill/>
        </a:ln>
      </c:spPr>
    </c:plotArea>
    <c:legend>
      <c:legendPos val="r"/>
      <c:layout>
        <c:manualLayout>
          <c:xMode val="edge"/>
          <c:yMode val="edge"/>
          <c:x val="0.82349898120479437"/>
          <c:y val="0.4162148075806093"/>
          <c:w val="0.13620120994474483"/>
          <c:h val="0.16308538339005824"/>
        </c:manualLayout>
      </c:layout>
      <c:overlay val="0"/>
      <c:txPr>
        <a:bodyPr/>
        <a:lstStyle/>
        <a:p>
          <a:pPr>
            <a:defRPr sz="1400" baseline="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1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8698</cdr:x>
      <cdr:y>0.4349</cdr:y>
    </cdr:from>
    <cdr:to>
      <cdr:x>0.49906</cdr:x>
      <cdr:y>0.5747</cdr:y>
    </cdr:to>
    <cdr:sp macro="" textlink="">
      <cdr:nvSpPr>
        <cdr:cNvPr id="3" name="Овал 2"/>
        <cdr:cNvSpPr/>
      </cdr:nvSpPr>
      <cdr:spPr bwMode="auto">
        <a:xfrm xmlns:a="http://schemas.openxmlformats.org/drawingml/2006/main">
          <a:off x="1461596" y="1702994"/>
          <a:ext cx="1080120" cy="54739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 xmlns:a="http://schemas.openxmlformats.org/drawingml/2006/main">
        <a:bodyPr xmlns:a="http://schemas.openxmlformats.org/drawingml/2006/main" vertOverflow="clip" vert="horz" wrap="square" lIns="91440" tIns="45720" rIns="91440" bIns="45720" numCol="1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28698</cdr:x>
      <cdr:y>0.45301</cdr:y>
    </cdr:from>
    <cdr:to>
      <cdr:x>0.49906</cdr:x>
      <cdr:y>0.569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61596" y="1773895"/>
          <a:ext cx="1080120" cy="4575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dirty="0">
              <a:ln w="12700">
                <a:solidFill>
                  <a:schemeClr val="tx1"/>
                </a:solidFill>
              </a:ln>
            </a:rPr>
            <a:t>68 562,43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fld id="{5C7EB706-151E-4692-921D-2B25B96CA81A}" type="datetimeFigureOut">
              <a:rPr lang="ru-RU"/>
              <a:pPr>
                <a:defRPr/>
              </a:pPr>
              <a:t>21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41363"/>
            <a:ext cx="658177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18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fld id="{A9B99F45-539A-4FED-BAC7-CDBAB42B28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8223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409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B1087C7-BA84-444E-8AAF-2EACA7583BDB}" type="slidenum">
              <a:rPr lang="ru-RU">
                <a:cs typeface="Arial" charset="0"/>
              </a:rPr>
              <a:pPr/>
              <a:t>7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B99F45-539A-4FED-BAC7-CDBAB42B2816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06471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45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6451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9D41ABB-B820-4984-B66C-CDB9617D4905}" type="slidenum">
              <a:rPr lang="ru-RU">
                <a:cs typeface="Arial" charset="0"/>
              </a:rPr>
              <a:pPr/>
              <a:t>2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00206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00206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C0000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00206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00206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 marL="0" algn="ctr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200" b="0" i="0" u="none" strike="noStrike" kern="1200" dirty="0">
                <a:solidFill>
                  <a:srgbClr val="002060"/>
                </a:solidFill>
                <a:effectLst/>
                <a:latin typeface="Times New Roman"/>
              </a:rPr>
              <a:t> </a:t>
            </a:r>
            <a:endParaRPr lang="ru-RU" sz="1200" b="0" i="0" u="none" strike="noStrike" dirty="0">
              <a:effectLst/>
              <a:latin typeface="Arial"/>
            </a:endParaRPr>
          </a:p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665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CBA82C62-5335-4C1E-AED1-17C7D95F8098}" type="slidenum">
              <a:rPr lang="ru-RU">
                <a:cs typeface="Arial" charset="0"/>
              </a:rPr>
              <a:pPr/>
              <a:t>2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686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9237F1A-C83B-4FA9-94AE-5C3FAFC82883}" type="slidenum">
              <a:rPr lang="ru-RU">
                <a:cs typeface="Arial" charset="0"/>
              </a:rPr>
              <a:pPr/>
              <a:t>23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37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737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7C4B0AD-7E1A-4C0A-B779-B63D2DF567D4}" type="slidenum">
              <a:rPr lang="ru-RU">
                <a:cs typeface="Arial" charset="0"/>
              </a:rPr>
              <a:pPr/>
              <a:t>27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B99F45-539A-4FED-BAC7-CDBAB42B2816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4982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39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8397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BC08D31-4088-4754-8FFD-F77291763922}" type="slidenum">
              <a:rPr lang="ru-RU">
                <a:cs typeface="Arial" charset="0"/>
              </a:rPr>
              <a:pPr/>
              <a:t>34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60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8601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67B57A76-0CB8-481F-B826-C3C84917564A}" type="slidenum">
              <a:rPr lang="ru-RU">
                <a:cs typeface="Arial" charset="0"/>
              </a:rPr>
              <a:pPr/>
              <a:t>35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B99F45-539A-4FED-BAC7-CDBAB42B2816}" type="slidenum">
              <a:rPr lang="ru-RU" smtClean="0"/>
              <a:pPr>
                <a:defRPr/>
              </a:pPr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393333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0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942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73EF63B6-C257-4A1E-83E0-DC41477CA80B}" type="slidenum">
              <a:rPr lang="ru-RU">
                <a:cs typeface="Arial" charset="0"/>
              </a:rPr>
              <a:pPr/>
              <a:t>4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03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4403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04D36A13-AEC2-4B81-BB00-24A41640AD82}" type="slidenum">
              <a:rPr lang="ru-RU">
                <a:cs typeface="Arial" charset="0"/>
              </a:rPr>
              <a:pPr/>
              <a:t>9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62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9625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8574514A-DB92-4593-BA1F-0E9503162E76}" type="slidenum">
              <a:rPr lang="ru-RU">
                <a:cs typeface="Arial" charset="0"/>
              </a:rPr>
              <a:pPr/>
              <a:t>43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9B99F45-539A-4FED-BAC7-CDBAB42B2816}" type="slidenum">
              <a:rPr lang="ru-RU" smtClean="0"/>
              <a:pPr>
                <a:defRPr/>
              </a:pPr>
              <a:t>4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7152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88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788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14A4D302-964D-400B-BA83-E372F799A87D}" type="slidenum">
              <a:rPr lang="ru-RU">
                <a:cs typeface="Arial" charset="0"/>
              </a:rPr>
              <a:pPr/>
              <a:t>11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FFD73D28-7503-4E6B-A51E-7A8AE976E1C1}" type="slidenum">
              <a:rPr lang="ru-RU">
                <a:cs typeface="Arial" charset="0"/>
              </a:rPr>
              <a:pPr/>
              <a:t>12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5529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6B7C796-BFD4-4656-B481-C14DBA0ADCCF}" type="slidenum">
              <a:rPr lang="ru-RU">
                <a:cs typeface="Arial" charset="0"/>
              </a:rPr>
              <a:pPr/>
              <a:t>13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1D7F55C-54A0-4AD2-A4FE-63019CA16705}" type="slidenum">
              <a:rPr lang="ru-RU">
                <a:cs typeface="Arial" charset="0"/>
              </a:rPr>
              <a:pPr/>
              <a:t>15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1D7F55C-54A0-4AD2-A4FE-63019CA16705}" type="slidenum">
              <a:rPr lang="ru-RU">
                <a:cs typeface="Arial" charset="0"/>
              </a:rPr>
              <a:pPr/>
              <a:t>16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1D7F55C-54A0-4AD2-A4FE-63019CA16705}" type="slidenum">
              <a:rPr lang="ru-RU">
                <a:cs typeface="Arial" charset="0"/>
              </a:rPr>
              <a:pPr/>
              <a:t>17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5939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A8DF0661-49EE-46E8-A48D-AE1CFFA9E94A}" type="slidenum">
              <a:rPr lang="ru-RU">
                <a:cs typeface="Arial" charset="0"/>
              </a:rPr>
              <a:pPr/>
              <a:t>18</a:t>
            </a:fld>
            <a:endParaRPr lang="ru-RU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1613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2813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76ADCB-FB65-4747-9C39-F8C6A88E35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796A3E-A852-4734-9E2A-32E24B29F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96363" y="685800"/>
            <a:ext cx="2503487" cy="51054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484313" y="685800"/>
            <a:ext cx="7359650" cy="51054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2845CB-5E4E-4F28-9348-D86F1A8D441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5537" cy="1752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484313" y="2667000"/>
            <a:ext cx="10015537" cy="31242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F7E85C-8F5C-4F97-AA77-628827C4007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484313" y="685800"/>
            <a:ext cx="10015537" cy="51054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1F3837-B84E-4E50-ADD4-A2107FFD862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5537" cy="1752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484313" y="2667000"/>
            <a:ext cx="10015537" cy="31242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3D69C4-E47C-42AB-A7AE-2B8CC39E896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5537" cy="1752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4313" y="2667000"/>
            <a:ext cx="4930775" cy="3124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567488" y="2667000"/>
            <a:ext cx="4932362" cy="1485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6567488" y="4305300"/>
            <a:ext cx="4932362" cy="14859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CF4AE7-976B-470E-87DC-2CB61BCB0C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22"/>
          <p:cNvSpPr/>
          <p:nvPr/>
        </p:nvSpPr>
        <p:spPr>
          <a:xfrm flipV="1">
            <a:off x="7212013" y="3810000"/>
            <a:ext cx="4978400" cy="90488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Прямоугольник 23"/>
          <p:cNvSpPr/>
          <p:nvPr/>
        </p:nvSpPr>
        <p:spPr>
          <a:xfrm flipV="1">
            <a:off x="7212013" y="3897313"/>
            <a:ext cx="4978400" cy="19208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Прямоугольник 24"/>
          <p:cNvSpPr/>
          <p:nvPr/>
        </p:nvSpPr>
        <p:spPr>
          <a:xfrm flipV="1">
            <a:off x="7212013" y="4114800"/>
            <a:ext cx="4978400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Прямоугольник 25"/>
          <p:cNvSpPr/>
          <p:nvPr/>
        </p:nvSpPr>
        <p:spPr>
          <a:xfrm flipV="1">
            <a:off x="7212013" y="4164013"/>
            <a:ext cx="2620962" cy="19050"/>
          </a:xfrm>
          <a:prstGeom prst="rect">
            <a:avLst/>
          </a:prstGeom>
          <a:solidFill>
            <a:schemeClr val="accent2">
              <a:alpha val="6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Прямоугольник 26"/>
          <p:cNvSpPr/>
          <p:nvPr/>
        </p:nvSpPr>
        <p:spPr>
          <a:xfrm flipV="1">
            <a:off x="7212013" y="4198938"/>
            <a:ext cx="2620962" cy="9525"/>
          </a:xfrm>
          <a:prstGeom prst="rect">
            <a:avLst/>
          </a:prstGeom>
          <a:solidFill>
            <a:schemeClr val="accent2">
              <a:alpha val="65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11" name="Скругленный прямоугольник 29"/>
          <p:cNvSpPr/>
          <p:nvPr/>
        </p:nvSpPr>
        <p:spPr bwMode="white">
          <a:xfrm>
            <a:off x="7212013" y="3962400"/>
            <a:ext cx="4084637" cy="26988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12" name="Скругленный прямоугольник 30"/>
          <p:cNvSpPr/>
          <p:nvPr/>
        </p:nvSpPr>
        <p:spPr bwMode="white">
          <a:xfrm>
            <a:off x="9834563" y="4060825"/>
            <a:ext cx="2133600" cy="36513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" name="Прямоугольник 6"/>
          <p:cNvSpPr/>
          <p:nvPr/>
        </p:nvSpPr>
        <p:spPr>
          <a:xfrm>
            <a:off x="0" y="3649663"/>
            <a:ext cx="12190413" cy="2444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4" name="Прямоугольник 9"/>
          <p:cNvSpPr/>
          <p:nvPr/>
        </p:nvSpPr>
        <p:spPr>
          <a:xfrm>
            <a:off x="0" y="3675063"/>
            <a:ext cx="12190413" cy="1412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Прямоугольник 10"/>
          <p:cNvSpPr/>
          <p:nvPr/>
        </p:nvSpPr>
        <p:spPr>
          <a:xfrm flipV="1">
            <a:off x="8550275" y="3643313"/>
            <a:ext cx="3640138" cy="24765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6" name="Прямоугольник 18"/>
          <p:cNvSpPr/>
          <p:nvPr/>
        </p:nvSpPr>
        <p:spPr>
          <a:xfrm>
            <a:off x="0" y="0"/>
            <a:ext cx="12190413" cy="37020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609521" y="2401888"/>
            <a:ext cx="11276132" cy="1470025"/>
          </a:xfrm>
        </p:spPr>
        <p:txBody>
          <a:bodyPr anchor="b"/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609521" y="3899938"/>
            <a:ext cx="6603140" cy="1752600"/>
          </a:xfrm>
        </p:spPr>
        <p:txBody>
          <a:bodyPr/>
          <a:lstStyle>
            <a:lvl1pPr marL="64008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7" name="Дата 27"/>
          <p:cNvSpPr>
            <a:spLocks noGrp="1"/>
          </p:cNvSpPr>
          <p:nvPr>
            <p:ph type="dt" sz="half" idx="10"/>
          </p:nvPr>
        </p:nvSpPr>
        <p:spPr>
          <a:xfrm>
            <a:off x="8939213" y="4206875"/>
            <a:ext cx="1281112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8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7212013" y="4205288"/>
            <a:ext cx="17272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1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11091863" y="1588"/>
            <a:ext cx="996950" cy="365125"/>
          </a:xfrm>
        </p:spPr>
        <p:txBody>
          <a:bodyPr/>
          <a:lstStyle>
            <a:lvl1pPr algn="r">
              <a:defRPr sz="18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313EE17-CDCF-4E25-B275-D5EFCE348D0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9686F6-1F8E-46FF-BC12-9FCCE43AF59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59" y="1981201"/>
            <a:ext cx="10361851" cy="1362075"/>
          </a:xfrm>
        </p:spPr>
        <p:txBody>
          <a:bodyPr anchor="b">
            <a:noAutofit/>
          </a:bodyPr>
          <a:lstStyle>
            <a:lvl1pPr algn="l">
              <a:buNone/>
              <a:defRPr sz="4300" b="1" cap="none" baseline="0">
                <a:ln w="12700">
                  <a:solidFill>
                    <a:schemeClr val="accent2">
                      <a:shade val="90000"/>
                      <a:satMod val="150000"/>
                    </a:schemeClr>
                  </a:solidFill>
                </a:ln>
                <a:solidFill>
                  <a:srgbClr val="FFFFFF"/>
                </a:solidFill>
                <a:effectLst>
                  <a:outerShdw blurRad="38100" dist="381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59" y="3367088"/>
            <a:ext cx="10361851" cy="1509712"/>
          </a:xfrm>
        </p:spPr>
        <p:txBody>
          <a:bodyPr/>
          <a:lstStyle>
            <a:lvl1pPr marL="45720" indent="0">
              <a:buNone/>
              <a:defRPr sz="2100" b="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F100C5-ACB0-442A-BE62-BF57FAC92AD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521" y="2249425"/>
            <a:ext cx="5384099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6793" y="2249425"/>
            <a:ext cx="5384099" cy="4525963"/>
          </a:xfrm>
        </p:spPr>
        <p:txBody>
          <a:bodyPr/>
          <a:lstStyle>
            <a:lvl1pPr>
              <a:defRPr sz="2000"/>
            </a:lvl1pPr>
            <a:lvl2pPr>
              <a:defRPr sz="19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CCCDAA-C657-4238-8564-40EDCE25F2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45C828-1159-4DD3-8DEC-4D2FF41EA70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934" y="1143000"/>
            <a:ext cx="11174545" cy="1069848"/>
          </a:xfrm>
        </p:spPr>
        <p:txBody>
          <a:bodyPr/>
          <a:lstStyle>
            <a:lvl1pPr>
              <a:defRPr sz="4000" b="0" i="0" cap="none" baseline="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07934" y="2244970"/>
            <a:ext cx="5388163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6294148" y="2244970"/>
            <a:ext cx="5388332" cy="457200"/>
          </a:xfrm>
          <a:solidFill>
            <a:schemeClr val="accent2">
              <a:satMod val="150000"/>
              <a:alpha val="25000"/>
            </a:schemeClr>
          </a:solidFill>
          <a:ln w="12700">
            <a:solidFill>
              <a:schemeClr val="accent2"/>
            </a:solidFill>
          </a:ln>
        </p:spPr>
        <p:txBody>
          <a:bodyPr anchor="ctr">
            <a:noAutofit/>
          </a:bodyPr>
          <a:lstStyle>
            <a:lvl1pPr marL="45720" indent="0">
              <a:buNone/>
              <a:defRPr sz="1900" b="1">
                <a:solidFill>
                  <a:schemeClr val="tx1">
                    <a:tint val="9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2"/>
          </p:nvPr>
        </p:nvSpPr>
        <p:spPr>
          <a:xfrm>
            <a:off x="507934" y="2708519"/>
            <a:ext cx="5388163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90254" y="2708519"/>
            <a:ext cx="5388332" cy="38862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2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" name="Номер слайда 2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fld id="{D3048F27-2442-4CDB-9050-C145D9169C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9" name="Нижний колонтитул 2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1143000"/>
            <a:ext cx="10971372" cy="1069848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8777288" y="612775"/>
            <a:ext cx="127635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991905-183D-4DA9-BE99-0C71E4FC0C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3207E4-A9EA-4336-A185-D54C8356A8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37065" y="1101970"/>
            <a:ext cx="4510453" cy="877824"/>
          </a:xfrm>
        </p:spPr>
        <p:txBody>
          <a:bodyPr anchor="b"/>
          <a:lstStyle>
            <a:lvl1pPr algn="l">
              <a:buNone/>
              <a:defRPr sz="1800" b="1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7137065" y="2010727"/>
            <a:ext cx="4510453" cy="4617720"/>
          </a:xfrm>
        </p:spPr>
        <p:txBody>
          <a:bodyPr/>
          <a:lstStyle>
            <a:lvl1pPr marL="9144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1"/>
          </p:nvPr>
        </p:nvSpPr>
        <p:spPr>
          <a:xfrm>
            <a:off x="203174" y="776287"/>
            <a:ext cx="6802250" cy="585216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F44677-726E-4717-8F17-C1E635F310A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52969" y="1109161"/>
            <a:ext cx="782302" cy="4681637"/>
          </a:xfrm>
        </p:spPr>
        <p:txBody>
          <a:bodyPr vert="vert270" lIns="45720" tIns="0" rIns="45720" anchor="t"/>
          <a:lstStyle>
            <a:lvl1pPr algn="ctr">
              <a:buNone/>
              <a:defRPr sz="2000" b="1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38158" y="1143000"/>
            <a:ext cx="6095207" cy="4572000"/>
          </a:xfrm>
          <a:solidFill>
            <a:srgbClr val="EAEAEA"/>
          </a:solidFill>
          <a:ln w="50800">
            <a:solidFill>
              <a:srgbClr val="FFFFFF"/>
            </a:solidFill>
            <a:miter lim="800000"/>
          </a:ln>
          <a:effectLst>
            <a:outerShdw blurRad="57150" dist="31750" dir="4800000" algn="tl" rotWithShape="0">
              <a:srgbClr val="000000">
                <a:alpha val="2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 contourW="2540">
            <a:bevelT w="25400" h="19050"/>
            <a:contourClr>
              <a:srgbClr val="AEAEAE"/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ru-RU" noProof="0"/>
              <a:t>Вставка рисунка</a:t>
            </a:r>
            <a:endParaRPr lang="en-US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116867" y="3274309"/>
            <a:ext cx="3453950" cy="2516489"/>
          </a:xfrm>
        </p:spPr>
        <p:txBody>
          <a:bodyPr lIns="0" tIns="0" r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2DAC3E-1073-4F47-A6EE-F076AC9824A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3DEC9-E551-4005-A0D5-FB704283F72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41223" y="1143000"/>
            <a:ext cx="2539669" cy="54864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520" y="1143000"/>
            <a:ext cx="8330116" cy="54864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Дата 1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Номер слайда 2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666B9-B185-4063-BCE7-7D6C515D7FB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1213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609600" y="1600200"/>
            <a:ext cx="5408613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0613" y="1600200"/>
            <a:ext cx="5410200" cy="45259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5382DC-ADA9-4871-9C85-867F3BE9363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1213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09600" y="1600200"/>
            <a:ext cx="10971213" cy="4525963"/>
          </a:xfrm>
        </p:spPr>
        <p:txBody>
          <a:bodyPr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734C7-CB76-413F-9E06-FA99E7A2BFD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609600" y="274638"/>
            <a:ext cx="10971213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609600" y="1600200"/>
            <a:ext cx="5408613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6170613" y="1600200"/>
            <a:ext cx="5410200" cy="21859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609600" y="3938588"/>
            <a:ext cx="5408613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0613" y="3938588"/>
            <a:ext cx="5410200" cy="21875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238C6D-0F8D-4950-B0AB-6BB6889BFA7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613" y="4406900"/>
            <a:ext cx="10361612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1612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9B3575-1F52-48C4-A50C-645A1972BC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484313" y="2667000"/>
            <a:ext cx="4930775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67488" y="2667000"/>
            <a:ext cx="4932362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2ECD00-2D8F-4779-A175-5A35F1FD3F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121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838" y="1535113"/>
            <a:ext cx="5387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2838" y="2174875"/>
            <a:ext cx="5387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5C3942-56DB-43E2-9A80-3CF058F2B8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206AD3-9393-469D-BBC3-C776CEF525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A3830D-D2F9-4556-963F-6C857BD513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002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5675" y="273050"/>
            <a:ext cx="68151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00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4591DC-A53A-4F13-AC07-6A4CF63E68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18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FAD8D-4839-4713-A626-72CFF89340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6"/>
          <p:cNvGrpSpPr>
            <a:grpSpLocks/>
          </p:cNvGrpSpPr>
          <p:nvPr/>
        </p:nvGrpSpPr>
        <p:grpSpPr bwMode="auto">
          <a:xfrm>
            <a:off x="150813" y="0"/>
            <a:ext cx="2436812" cy="6858000"/>
            <a:chOff x="1320800" y="0"/>
            <a:chExt cx="2436813" cy="6858001"/>
          </a:xfrm>
        </p:grpSpPr>
        <p:sp>
          <p:nvSpPr>
            <p:cNvPr id="3080" name="Freeform 6"/>
            <p:cNvSpPr>
              <a:spLocks noChangeArrowheads="1"/>
            </p:cNvSpPr>
            <p:nvPr/>
          </p:nvSpPr>
          <p:spPr bwMode="auto">
            <a:xfrm>
              <a:off x="1627187" y="0"/>
              <a:ext cx="1122363" cy="5329239"/>
            </a:xfrm>
            <a:custGeom>
              <a:avLst/>
              <a:gdLst>
                <a:gd name="T0" fmla="*/ 0 w 707"/>
                <a:gd name="T1" fmla="*/ 2147483647 h 3357"/>
                <a:gd name="T2" fmla="*/ 2147483647 w 707"/>
                <a:gd name="T3" fmla="*/ 2147483647 h 3357"/>
                <a:gd name="T4" fmla="*/ 2147483647 w 707"/>
                <a:gd name="T5" fmla="*/ 0 h 3357"/>
                <a:gd name="T6" fmla="*/ 2147483647 w 707"/>
                <a:gd name="T7" fmla="*/ 0 h 3357"/>
                <a:gd name="T8" fmla="*/ 0 w 707"/>
                <a:gd name="T9" fmla="*/ 2147483647 h 33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07"/>
                <a:gd name="T16" fmla="*/ 0 h 3357"/>
                <a:gd name="T17" fmla="*/ 707 w 707"/>
                <a:gd name="T18" fmla="*/ 3357 h 335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ctr"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1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1"/>
              <a:ext cx="1228726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7" y="5291139"/>
              <a:ext cx="1495426" cy="1566862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7" y="5286376"/>
              <a:ext cx="2130426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1"/>
              <a:ext cx="1695451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1484313" y="685800"/>
            <a:ext cx="10015537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484313" y="2667000"/>
            <a:ext cx="10015537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2"/>
          </p:nvPr>
        </p:nvSpPr>
        <p:spPr>
          <a:xfrm>
            <a:off x="9731375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1750" y="5883275"/>
            <a:ext cx="70834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0575" y="5867400"/>
            <a:ext cx="549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latin typeface="+mn-lt"/>
                <a:cs typeface="+mn-cs"/>
              </a:defRPr>
            </a:lvl1pPr>
          </a:lstStyle>
          <a:p>
            <a:pPr>
              <a:defRPr/>
            </a:pPr>
            <a:fld id="{B300EE7C-1EBE-4A53-B2C2-B31DA7102F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91" r:id="rId1"/>
    <p:sldLayoutId id="2147484192" r:id="rId2"/>
    <p:sldLayoutId id="2147484193" r:id="rId3"/>
    <p:sldLayoutId id="2147484194" r:id="rId4"/>
    <p:sldLayoutId id="2147484195" r:id="rId5"/>
    <p:sldLayoutId id="2147484196" r:id="rId6"/>
    <p:sldLayoutId id="2147484197" r:id="rId7"/>
    <p:sldLayoutId id="2147484198" r:id="rId8"/>
    <p:sldLayoutId id="2147484199" r:id="rId9"/>
    <p:sldLayoutId id="2147484200" r:id="rId10"/>
    <p:sldLayoutId id="2147484201" r:id="rId11"/>
    <p:sldLayoutId id="2147484202" r:id="rId12"/>
    <p:sldLayoutId id="2147484203" r:id="rId13"/>
    <p:sldLayoutId id="2147484204" r:id="rId14"/>
    <p:sldLayoutId id="2147484205" r:id="rId15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Corbel" pitchFamily="34" charset="0"/>
        </a:defRPr>
      </a:lvl9pPr>
    </p:titleStyle>
    <p:bodyStyle>
      <a:lvl1pPr marL="2857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2000">
          <a:solidFill>
            <a:schemeClr val="tx1"/>
          </a:solidFill>
          <a:latin typeface="+mn-lt"/>
        </a:defRPr>
      </a:lvl2pPr>
      <a:lvl3pPr marL="1200150" indent="-285750" algn="l" defTabSz="457200" rtl="0" eaLnBrk="0" fontAlgn="base" hangingPunct="0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2400">
          <a:solidFill>
            <a:schemeClr val="tx1"/>
          </a:solidFill>
          <a:latin typeface="+mn-lt"/>
        </a:defRPr>
      </a:lvl3pPr>
      <a:lvl4pPr marL="1543050" indent="-171450" algn="l" defTabSz="457200" rtl="0" eaLnBrk="0" fontAlgn="base" hangingPunct="0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600">
          <a:solidFill>
            <a:schemeClr val="tx1"/>
          </a:solidFill>
          <a:latin typeface="+mn-lt"/>
        </a:defRPr>
      </a:lvl4pPr>
      <a:lvl5pPr marL="2000250" indent="-171450" algn="l" defTabSz="457200" rtl="0" eaLnBrk="0" fontAlgn="base" hangingPunct="0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400">
          <a:solidFill>
            <a:schemeClr val="tx1"/>
          </a:solidFill>
          <a:latin typeface="+mn-lt"/>
        </a:defRPr>
      </a:lvl5pPr>
      <a:lvl6pPr marL="2457450" indent="-171450" algn="l" defTabSz="457200" rtl="0" fontAlgn="base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400">
          <a:solidFill>
            <a:schemeClr val="tx1"/>
          </a:solidFill>
          <a:latin typeface="+mn-lt"/>
        </a:defRPr>
      </a:lvl6pPr>
      <a:lvl7pPr marL="2914650" indent="-171450" algn="l" defTabSz="457200" rtl="0" fontAlgn="base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400">
          <a:solidFill>
            <a:schemeClr val="tx1"/>
          </a:solidFill>
          <a:latin typeface="+mn-lt"/>
        </a:defRPr>
      </a:lvl7pPr>
      <a:lvl8pPr marL="3371850" indent="-171450" algn="l" defTabSz="457200" rtl="0" fontAlgn="base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400">
          <a:solidFill>
            <a:schemeClr val="tx1"/>
          </a:solidFill>
          <a:latin typeface="+mn-lt"/>
        </a:defRPr>
      </a:lvl8pPr>
      <a:lvl9pPr marL="3829050" indent="-171450" algn="l" defTabSz="457200" rtl="0" fontAlgn="base">
        <a:spcBef>
          <a:spcPct val="20000"/>
        </a:spcBef>
        <a:spcAft>
          <a:spcPts val="600"/>
        </a:spcAft>
        <a:buClr>
          <a:srgbClr val="8D1515"/>
        </a:buClr>
        <a:buSzPct val="145000"/>
        <a:buFont typeface="Arial" charset="0"/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366713"/>
            <a:ext cx="12190413" cy="84137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9" name="Прямоугольник 28"/>
          <p:cNvSpPr/>
          <p:nvPr/>
        </p:nvSpPr>
        <p:spPr>
          <a:xfrm>
            <a:off x="0" y="0"/>
            <a:ext cx="12190413" cy="311150"/>
          </a:xfrm>
          <a:prstGeom prst="rect">
            <a:avLst/>
          </a:prstGeom>
          <a:solidFill>
            <a:schemeClr val="tx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0" name="Прямоугольник 29"/>
          <p:cNvSpPr/>
          <p:nvPr/>
        </p:nvSpPr>
        <p:spPr>
          <a:xfrm>
            <a:off x="0" y="307975"/>
            <a:ext cx="12190413" cy="92075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Прямоугольник 30"/>
          <p:cNvSpPr/>
          <p:nvPr/>
        </p:nvSpPr>
        <p:spPr>
          <a:xfrm flipV="1">
            <a:off x="7212013" y="360363"/>
            <a:ext cx="4978400" cy="90487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 flipV="1">
            <a:off x="7212013" y="439738"/>
            <a:ext cx="4978400" cy="180975"/>
          </a:xfrm>
          <a:prstGeom prst="rect">
            <a:avLst/>
          </a:prstGeom>
          <a:solidFill>
            <a:schemeClr val="accent2">
              <a:alpha val="50000"/>
            </a:scheme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3" name="Скругленный прямоугольник 32"/>
          <p:cNvSpPr/>
          <p:nvPr/>
        </p:nvSpPr>
        <p:spPr bwMode="white">
          <a:xfrm>
            <a:off x="7208838" y="496888"/>
            <a:ext cx="4083050" cy="28575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 useBgFill="1">
        <p:nvSpPr>
          <p:cNvPr id="34" name="Скругленный прямоугольник 33"/>
          <p:cNvSpPr/>
          <p:nvPr/>
        </p:nvSpPr>
        <p:spPr bwMode="white">
          <a:xfrm>
            <a:off x="9829800" y="588963"/>
            <a:ext cx="2133600" cy="36512"/>
          </a:xfrm>
          <a:prstGeom prst="roundRect">
            <a:avLst>
              <a:gd name="adj" fmla="val 16667"/>
            </a:avLst>
          </a:prstGeom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Прямоугольник 34"/>
          <p:cNvSpPr/>
          <p:nvPr/>
        </p:nvSpPr>
        <p:spPr bwMode="invGray">
          <a:xfrm>
            <a:off x="12111038" y="-1588"/>
            <a:ext cx="77787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6" name="Прямоугольник 35"/>
          <p:cNvSpPr/>
          <p:nvPr/>
        </p:nvSpPr>
        <p:spPr bwMode="invGray">
          <a:xfrm>
            <a:off x="12057063" y="-1588"/>
            <a:ext cx="36512" cy="620713"/>
          </a:xfrm>
          <a:prstGeom prst="rect">
            <a:avLst/>
          </a:prstGeom>
          <a:solidFill>
            <a:srgbClr val="FFFFFF">
              <a:alpha val="65098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7" name="Прямоугольник 36"/>
          <p:cNvSpPr/>
          <p:nvPr/>
        </p:nvSpPr>
        <p:spPr bwMode="invGray">
          <a:xfrm>
            <a:off x="12031663" y="-1588"/>
            <a:ext cx="12700" cy="620713"/>
          </a:xfrm>
          <a:prstGeom prst="rect">
            <a:avLst/>
          </a:prstGeom>
          <a:solidFill>
            <a:srgbClr val="FFFFFF">
              <a:alpha val="6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8" name="Прямоугольник 37"/>
          <p:cNvSpPr/>
          <p:nvPr/>
        </p:nvSpPr>
        <p:spPr bwMode="invGray">
          <a:xfrm>
            <a:off x="11964988" y="-1588"/>
            <a:ext cx="36512" cy="620713"/>
          </a:xfrm>
          <a:prstGeom prst="rect">
            <a:avLst/>
          </a:prstGeom>
          <a:solidFill>
            <a:srgbClr val="FFFFFF">
              <a:alpha val="4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9" name="Прямоугольник 38"/>
          <p:cNvSpPr/>
          <p:nvPr/>
        </p:nvSpPr>
        <p:spPr bwMode="invGray">
          <a:xfrm>
            <a:off x="11885613" y="0"/>
            <a:ext cx="73025" cy="585788"/>
          </a:xfrm>
          <a:prstGeom prst="rect">
            <a:avLst/>
          </a:prstGeom>
          <a:solidFill>
            <a:srgbClr val="FFFFFF">
              <a:alpha val="20000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0" name="Прямоугольник 39"/>
          <p:cNvSpPr/>
          <p:nvPr/>
        </p:nvSpPr>
        <p:spPr bwMode="invGray">
          <a:xfrm>
            <a:off x="11830050" y="0"/>
            <a:ext cx="11113" cy="585788"/>
          </a:xfrm>
          <a:prstGeom prst="rect">
            <a:avLst/>
          </a:prstGeom>
          <a:solidFill>
            <a:srgbClr val="FFFFFF">
              <a:alpha val="30196"/>
            </a:srgbClr>
          </a:solidFill>
          <a:ln w="508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17423" name="Заголовок 21"/>
          <p:cNvSpPr>
            <a:spLocks noGrp="1"/>
          </p:cNvSpPr>
          <p:nvPr>
            <p:ph type="title"/>
          </p:nvPr>
        </p:nvSpPr>
        <p:spPr bwMode="auto">
          <a:xfrm>
            <a:off x="609600" y="1143000"/>
            <a:ext cx="10971213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7424" name="Текст 12"/>
          <p:cNvSpPr>
            <a:spLocks noGrp="1"/>
          </p:cNvSpPr>
          <p:nvPr>
            <p:ph type="body" idx="1"/>
          </p:nvPr>
        </p:nvSpPr>
        <p:spPr bwMode="auto">
          <a:xfrm>
            <a:off x="609600" y="2249488"/>
            <a:ext cx="10971213" cy="432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8780463" y="612775"/>
            <a:ext cx="1276350" cy="457200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800">
                <a:solidFill>
                  <a:schemeClr val="accent2"/>
                </a:solidFill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7008813" y="612775"/>
            <a:ext cx="1768475" cy="457200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800">
                <a:solidFill>
                  <a:schemeClr val="accent2"/>
                </a:solidFill>
                <a:cs typeface="+mn-cs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10898188" y="1588"/>
            <a:ext cx="1016000" cy="366712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800" smtClean="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D9DB1779-C916-4988-B371-8D64A3D5AB7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190" r:id="rId2"/>
    <p:sldLayoutId id="2147484189" r:id="rId3"/>
    <p:sldLayoutId id="2147484188" r:id="rId4"/>
    <p:sldLayoutId id="2147484207" r:id="rId5"/>
    <p:sldLayoutId id="2147484208" r:id="rId6"/>
    <p:sldLayoutId id="2147484187" r:id="rId7"/>
    <p:sldLayoutId id="2147484186" r:id="rId8"/>
    <p:sldLayoutId id="2147484185" r:id="rId9"/>
    <p:sldLayoutId id="2147484184" r:id="rId10"/>
    <p:sldLayoutId id="2147484183" r:id="rId11"/>
    <p:sldLayoutId id="2147484209" r:id="rId12"/>
    <p:sldLayoutId id="2147484210" r:id="rId13"/>
    <p:sldLayoutId id="2147484211" r:id="rId14"/>
  </p:sldLayoutIdLst>
  <p:txStyles>
    <p:titleStyle>
      <a:lvl1pPr algn="l" rtl="0" fontAlgn="base">
        <a:spcBef>
          <a:spcPct val="0"/>
        </a:spcBef>
        <a:spcAft>
          <a:spcPct val="0"/>
        </a:spcAft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Trebuchet MS" pitchFamily="34" charset="0"/>
        </a:defRPr>
      </a:lvl9pPr>
    </p:titleStyle>
    <p:bodyStyle>
      <a:lvl1pPr marL="365125" indent="-255588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7225" indent="-246063" algn="l" rtl="0" fontAlgn="base">
        <a:spcBef>
          <a:spcPts val="300"/>
        </a:spcBef>
        <a:spcAft>
          <a:spcPct val="0"/>
        </a:spcAft>
        <a:buClr>
          <a:schemeClr val="accent2"/>
        </a:buClr>
        <a:buFont typeface="Georgia" pitchFamily="18" charset="0"/>
        <a:buChar char="▫"/>
        <a:defRPr sz="2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922338" indent="-219075" algn="l" rtl="0" fontAlgn="base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4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179513" indent="-200025" algn="l" rtl="0" fontAlgn="base">
        <a:spcBef>
          <a:spcPts val="300"/>
        </a:spcBef>
        <a:spcAft>
          <a:spcPct val="0"/>
        </a:spcAft>
        <a:buClr>
          <a:schemeClr val="accent1"/>
        </a:buClr>
        <a:buFont typeface="Wingdings 2" pitchFamily="18" charset="2"/>
        <a:buChar char=""/>
        <a:defRPr sz="22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389063" indent="-182563" algn="l" rtl="0" fontAlgn="base">
        <a:spcBef>
          <a:spcPts val="300"/>
        </a:spcBef>
        <a:spcAft>
          <a:spcPct val="0"/>
        </a:spcAft>
        <a:buClr>
          <a:srgbClr val="A04DA3"/>
        </a:buClr>
        <a:buFont typeface="Georgia" pitchFamily="18" charset="0"/>
        <a:buChar char="▫"/>
        <a:defRPr sz="2000" kern="1200">
          <a:solidFill>
            <a:srgbClr val="A04DA3"/>
          </a:solidFill>
          <a:latin typeface="+mn-lt"/>
          <a:ea typeface="+mn-ea"/>
          <a:cs typeface="+mn-cs"/>
        </a:defRPr>
      </a:lvl5pPr>
      <a:lvl6pPr marL="1609344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800" kern="1200">
          <a:solidFill>
            <a:schemeClr val="accent3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▫"/>
        <a:defRPr kumimoji="0" sz="1600" kern="1200">
          <a:solidFill>
            <a:schemeClr val="accent3"/>
          </a:solidFill>
          <a:latin typeface="+mn-lt"/>
          <a:ea typeface="+mn-ea"/>
          <a:cs typeface="+mn-cs"/>
        </a:defRPr>
      </a:lvl7pPr>
      <a:lvl8pPr marL="2029968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500" kern="1200">
          <a:solidFill>
            <a:schemeClr val="accent3"/>
          </a:solidFill>
          <a:latin typeface="+mn-lt"/>
          <a:ea typeface="+mn-ea"/>
          <a:cs typeface="+mn-cs"/>
        </a:defRPr>
      </a:lvl8pPr>
      <a:lvl9pPr marL="2240280" indent="-182880" algn="l" rtl="0" eaLnBrk="1" latinLnBrk="0" hangingPunct="1">
        <a:spcBef>
          <a:spcPts val="300"/>
        </a:spcBef>
        <a:buClr>
          <a:schemeClr val="accent3"/>
        </a:buClr>
        <a:buFont typeface="Georgia"/>
        <a:buChar char="◦"/>
        <a:defRPr kumimoji="0" sz="1400" kern="1200" baseline="0">
          <a:solidFill>
            <a:schemeClr val="accent3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yandex.ru/images/search?text=%D0%B7%D0%BD%D0%B0%D1%87%D0%BE%D0%BA+%D0%BA+%D1%80%D0%B5%D0%BC%D0%BE%D0%BD%D1%82%D1%83+%D0%B4%D0%BE%D1%80%D0%BE%D0%B3&amp;img_url=https://www.lacenterschools.org/wp-content/uploads/2018/11/clipart1272878098.png&amp;pos=7&amp;rpt=simage&amp;stype=image&amp;lr=11060&amp;parent-reqid=1576755627158156-1224573128682623910500122-sas1-5658&amp;source=wiz" TargetMode="External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chart" Target="../charts/chart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1.vml"/><Relationship Id="rId5" Type="http://schemas.openxmlformats.org/officeDocument/2006/relationships/chart" Target="../charts/chart6.xml"/><Relationship Id="rId4" Type="http://schemas.openxmlformats.org/officeDocument/2006/relationships/image" Target="../media/image10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5" Type="http://schemas.openxmlformats.org/officeDocument/2006/relationships/chart" Target="../charts/chart7.xml"/><Relationship Id="rId4" Type="http://schemas.openxmlformats.org/officeDocument/2006/relationships/image" Target="../media/image14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9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3"/>
          <p:cNvSpPr>
            <a:spLocks noGrp="1" noChangeArrowheads="1"/>
          </p:cNvSpPr>
          <p:nvPr>
            <p:ph type="subTitle" idx="1"/>
          </p:nvPr>
        </p:nvSpPr>
        <p:spPr>
          <a:xfrm flipV="1">
            <a:off x="1677988" y="5638800"/>
            <a:ext cx="8683625" cy="95250"/>
          </a:xfrm>
        </p:spPr>
        <p:txBody>
          <a:bodyPr>
            <a:normAutofit fontScale="25000" lnSpcReduction="20000"/>
          </a:bodyPr>
          <a:lstStyle/>
          <a:p>
            <a:pPr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ru-RU" altLang="ru-RU" sz="800"/>
          </a:p>
        </p:txBody>
      </p:sp>
      <p:sp useBgFill="1">
        <p:nvSpPr>
          <p:cNvPr id="19460" name="WordArt 6"/>
          <p:cNvSpPr>
            <a:spLocks noChangeArrowheads="1" noChangeShapeType="1" noTextEdit="1"/>
          </p:cNvSpPr>
          <p:nvPr/>
        </p:nvSpPr>
        <p:spPr bwMode="auto">
          <a:xfrm>
            <a:off x="58122" y="141470"/>
            <a:ext cx="12132291" cy="619268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>
              <a:defRPr/>
            </a:pPr>
            <a:r>
              <a:rPr lang="ru-RU" sz="4800" b="1" kern="10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accent5">
                    <a:lumMod val="25000"/>
                  </a:schemeClr>
                </a:solidFill>
                <a:latin typeface="Franklin Gothic Medium Cond" panose="020B0606030402020204" pitchFamily="34" charset="0"/>
                <a:cs typeface="+mn-cs"/>
              </a:rPr>
              <a:t>    </a:t>
            </a:r>
            <a:r>
              <a:rPr lang="ru-RU" sz="4800" b="1" kern="10" dirty="0">
                <a:ln w="1905"/>
                <a:solidFill>
                  <a:schemeClr val="accent4">
                    <a:lumMod val="5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Franklin Gothic Medium Cond" panose="020B0606030402020204" pitchFamily="34" charset="0"/>
                <a:cs typeface="+mn-cs"/>
              </a:rPr>
              <a:t>Бюджет для граждан</a:t>
            </a:r>
          </a:p>
          <a:p>
            <a:pPr algn="ctr">
              <a:defRPr/>
            </a:pPr>
            <a:r>
              <a:rPr lang="ru-RU" sz="3600" b="1" kern="10" dirty="0">
                <a:ln w="1905"/>
                <a:solidFill>
                  <a:schemeClr val="accent4">
                    <a:lumMod val="5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Franklin Gothic Medium Cond" panose="020B0606030402020204" pitchFamily="34" charset="0"/>
                <a:cs typeface="+mn-cs"/>
              </a:rPr>
              <a:t> к проекту бюджета</a:t>
            </a:r>
          </a:p>
          <a:p>
            <a:pPr algn="ctr">
              <a:defRPr/>
            </a:pPr>
            <a:r>
              <a:rPr lang="ru-RU" sz="3600" b="1" kern="10" dirty="0">
                <a:ln w="1905"/>
                <a:solidFill>
                  <a:schemeClr val="accent4">
                    <a:lumMod val="5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Franklin Gothic Medium Cond" panose="020B0606030402020204" pitchFamily="34" charset="0"/>
                <a:cs typeface="+mn-cs"/>
              </a:rPr>
              <a:t>Изобильненского муниципального округа Ставропольского края </a:t>
            </a:r>
          </a:p>
          <a:p>
            <a:pPr algn="ctr">
              <a:defRPr/>
            </a:pPr>
            <a:r>
              <a:rPr lang="ru-RU" sz="3600" b="1" kern="10" dirty="0">
                <a:ln w="1905"/>
                <a:solidFill>
                  <a:schemeClr val="accent4">
                    <a:lumMod val="5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Franklin Gothic Medium Cond" panose="020B0606030402020204" pitchFamily="34" charset="0"/>
                <a:cs typeface="+mn-cs"/>
              </a:rPr>
              <a:t>на 2025 год и плановый период 2026-2027 годов </a:t>
            </a:r>
          </a:p>
        </p:txBody>
      </p:sp>
      <p:pic>
        <p:nvPicPr>
          <p:cNvPr id="33795" name="Picture 2" descr="C:\Users\Пользователь2\Desktop\Почта\мои документы\image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8831263" y="1698625"/>
            <a:ext cx="270510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796" name="Picture 3" descr="C:\Users\Пользователь2\Desktop\Почта\мои документы\Без названия (1)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54100" y="1217613"/>
            <a:ext cx="2143125" cy="214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1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0413" cy="908050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3000" b="1" dirty="0">
                <a:solidFill>
                  <a:schemeClr val="bg1"/>
                </a:solidFill>
              </a:rPr>
              <a:t>Уровень долговой нагрузки на бюджет Изобильненского муниципального округа Ставропольского края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idx="1"/>
          </p:nvPr>
        </p:nvSpPr>
        <p:spPr>
          <a:xfrm>
            <a:off x="261938" y="908050"/>
            <a:ext cx="11809412" cy="5689600"/>
          </a:xfrm>
        </p:spPr>
        <p:txBody>
          <a:bodyPr>
            <a:normAutofit/>
          </a:bodyPr>
          <a:lstStyle/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Предельный объем муниципального долга Изобильненского муниципального округа на 2025 год – 0,00 млн. рублей, 2026 год – 0,0 млн. рублей, 2027 год – 0,0 млн. рублей.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endParaRPr lang="ru-RU" altLang="ru-RU" sz="1800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20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Основной целью долговой политики является</a:t>
            </a:r>
            <a:r>
              <a:rPr lang="ru-RU" altLang="ru-RU" sz="20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 </a:t>
            </a: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минимизация муниципальных заимствований на стадии планирования бюджета.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endParaRPr lang="ru-RU" altLang="ru-RU" sz="1800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20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Основными задачами долговой политики являются</a:t>
            </a:r>
            <a:r>
              <a:rPr lang="ru-RU" alt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: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Минимизация размера дефицита бюджета округа;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Сохранение имеющегося уровня долговых обязательств;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Недопущение необоснованных муниципальных заимствований.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endParaRPr lang="ru-RU" altLang="ru-RU" sz="1800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20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Инструменты долговой политики</a:t>
            </a:r>
            <a:r>
              <a:rPr lang="ru-RU" altLang="ru-RU" sz="20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: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Char char="-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Кредиты кредитных организаций;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Char char="-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Бюджетные кредиты, получаемые от бюджетов бюджетной системы Российской Федерации.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Tx/>
              <a:buChar char="-"/>
              <a:defRPr/>
            </a:pPr>
            <a:endParaRPr lang="ru-RU" altLang="ru-RU" sz="1800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  <a:p>
            <a:pPr marL="0" indent="0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ru-RU" altLang="ru-RU" sz="18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Основные риски, связанные с реализацией долговой политики</a:t>
            </a:r>
            <a:r>
              <a:rPr lang="ru-RU" altLang="ru-RU" sz="1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: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Риск снижения ликвидности рынка заимствований</a:t>
            </a:r>
            <a:r>
              <a:rPr lang="ru-RU" altLang="ru-RU" sz="1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;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ü"/>
              <a:defRPr/>
            </a:pP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Риск роста процентных ставок.</a:t>
            </a: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ü"/>
              <a:defRPr/>
            </a:pPr>
            <a:endParaRPr lang="ru-RU" altLang="ru-RU" sz="1800" b="1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  <a:p>
            <a:pPr marL="365760" indent="-256032" algn="just" fontAlgn="auto">
              <a:lnSpc>
                <a:spcPct val="90000"/>
              </a:lnSpc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800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4"/>
          <p:cNvSpPr>
            <a:spLocks noGrp="1" noChangeArrowheads="1"/>
          </p:cNvSpPr>
          <p:nvPr>
            <p:ph type="title"/>
          </p:nvPr>
        </p:nvSpPr>
        <p:spPr>
          <a:xfrm>
            <a:off x="-41275" y="-26988"/>
            <a:ext cx="12190413" cy="647676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br>
              <a:rPr lang="ru-RU" altLang="ru-RU" sz="2400" dirty="0">
                <a:solidFill>
                  <a:schemeClr val="bg1"/>
                </a:solidFill>
              </a:rPr>
            </a:br>
            <a:br>
              <a:rPr lang="ru-RU" altLang="ru-RU" sz="2400" dirty="0">
                <a:solidFill>
                  <a:schemeClr val="bg1"/>
                </a:solidFill>
              </a:rPr>
            </a:br>
            <a:r>
              <a:rPr lang="ru-RU" altLang="ru-RU" sz="2400" b="1" dirty="0">
                <a:solidFill>
                  <a:schemeClr val="bg1"/>
                </a:solidFill>
              </a:rPr>
              <a:t>Р</a:t>
            </a:r>
            <a:r>
              <a:rPr lang="ru-RU" altLang="ru-RU" sz="2000" b="1" dirty="0">
                <a:solidFill>
                  <a:schemeClr val="bg1"/>
                </a:solidFill>
              </a:rPr>
              <a:t>езультаты оценки качества управления бюджетным процессом и стратегического планирования в </a:t>
            </a:r>
            <a:r>
              <a:rPr lang="ru-RU" altLang="ru-RU" sz="2000" b="1" dirty="0" err="1">
                <a:solidFill>
                  <a:schemeClr val="bg1"/>
                </a:solidFill>
              </a:rPr>
              <a:t>Изобильненском</a:t>
            </a:r>
            <a:r>
              <a:rPr lang="ru-RU" altLang="ru-RU" sz="2000" b="1" dirty="0">
                <a:solidFill>
                  <a:schemeClr val="bg1"/>
                </a:solidFill>
              </a:rPr>
              <a:t> муниципальном округе Ставропольского края</a:t>
            </a:r>
            <a:br>
              <a:rPr lang="ru-RU" altLang="ru-RU" sz="2000" b="1" dirty="0">
                <a:solidFill>
                  <a:schemeClr val="bg1"/>
                </a:solidFill>
              </a:rPr>
            </a:br>
            <a:br>
              <a:rPr lang="ru-RU" altLang="ru-RU" sz="2000" b="1" dirty="0">
                <a:solidFill>
                  <a:schemeClr val="bg1"/>
                </a:solidFill>
              </a:rPr>
            </a:br>
            <a:endParaRPr lang="ru-RU" alt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5666127"/>
              </p:ext>
            </p:extLst>
          </p:nvPr>
        </p:nvGraphicFramePr>
        <p:xfrm>
          <a:off x="2134766" y="404664"/>
          <a:ext cx="8024813" cy="531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6083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438650" y="5084763"/>
            <a:ext cx="3230563" cy="150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949325"/>
          </a:xfrm>
          <a:solidFill>
            <a:schemeClr val="bg2">
              <a:lumMod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200" b="1" dirty="0">
                <a:solidFill>
                  <a:schemeClr val="bg1"/>
                </a:solidFill>
              </a:rPr>
              <a:t>Основные характеристики бюджета Изобильненского муниципального округа Ставропольского края на 2025 год и плановый период 2026 и 2027 годов</a:t>
            </a:r>
          </a:p>
        </p:txBody>
      </p:sp>
      <p:sp>
        <p:nvSpPr>
          <p:cNvPr id="48130" name="TextBox 2"/>
          <p:cNvSpPr txBox="1">
            <a:spLocks noChangeArrowheads="1"/>
          </p:cNvSpPr>
          <p:nvPr/>
        </p:nvSpPr>
        <p:spPr bwMode="auto">
          <a:xfrm>
            <a:off x="10940407" y="949325"/>
            <a:ext cx="1201737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rbel" pitchFamily="34" charset="0"/>
              </a:rPr>
              <a:t>млн. руб.</a:t>
            </a:r>
          </a:p>
        </p:txBody>
      </p:sp>
      <p:graphicFrame>
        <p:nvGraphicFramePr>
          <p:cNvPr id="29853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0716890"/>
              </p:ext>
            </p:extLst>
          </p:nvPr>
        </p:nvGraphicFramePr>
        <p:xfrm>
          <a:off x="18107" y="1484784"/>
          <a:ext cx="12190413" cy="5220291"/>
        </p:xfrm>
        <a:graphic>
          <a:graphicData uri="http://schemas.openxmlformats.org/drawingml/2006/table">
            <a:tbl>
              <a:tblPr/>
              <a:tblGrid>
                <a:gridCol w="4222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39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810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9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396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1758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620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57276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показателя 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</a:t>
                      </a:r>
                    </a:p>
                  </a:txBody>
                  <a:tcPr marT="45725" marB="45725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тклонение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тклонение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86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(+/-)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(+/-)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92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ХОД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93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732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198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668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64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009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в том числе: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92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логовые и неналоговые доход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342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443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0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7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50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56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3,9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725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Безвозмездные поступления, в </a:t>
                      </a:r>
                      <a:r>
                        <a:rPr kumimoji="0" lang="ru-RU" altLang="ru-RU" sz="1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.ч</a:t>
                      </a: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: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588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289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298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167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121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0,5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009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тации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17,7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4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183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34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850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бсидии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87,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1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135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47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850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бвенции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18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20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20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1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161,7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39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6,7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009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ные межбюджетные трансферт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0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850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СХОДЫ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93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732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198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3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 668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-64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7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8741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ФИЦИТ (+), ДЕФИЦИТ (-)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BC1C1C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727075"/>
          </a:xfrm>
          <a:solidFill>
            <a:schemeClr val="tx1">
              <a:lumMod val="65000"/>
              <a:lumOff val="35000"/>
            </a:schemeClr>
          </a:solidFill>
        </p:spPr>
        <p:txBody>
          <a:bodyPr/>
          <a:lstStyle/>
          <a:p>
            <a:pPr>
              <a:defRPr/>
            </a:pPr>
            <a:r>
              <a:rPr lang="ru-RU" altLang="ru-RU" sz="2200" b="1" dirty="0">
                <a:solidFill>
                  <a:schemeClr val="bg1"/>
                </a:solidFill>
              </a:rPr>
              <a:t>Безвозмездные поступления от других бюджетов бюджетной системы Российской Федерации</a:t>
            </a:r>
            <a:r>
              <a:rPr lang="ru-RU" altLang="ru-RU" sz="2000" b="1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54274" name="Text Box 22"/>
          <p:cNvSpPr txBox="1">
            <a:spLocks noChangeArrowheads="1"/>
          </p:cNvSpPr>
          <p:nvPr/>
        </p:nvSpPr>
        <p:spPr bwMode="auto">
          <a:xfrm>
            <a:off x="5038725" y="5013325"/>
            <a:ext cx="185738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ru-RU" altLang="ru-RU" sz="1400"/>
          </a:p>
          <a:p>
            <a:pPr algn="ctr"/>
            <a:endParaRPr lang="ru-RU" altLang="ru-RU" sz="140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1063663531"/>
              </p:ext>
            </p:extLst>
          </p:nvPr>
        </p:nvGraphicFramePr>
        <p:xfrm>
          <a:off x="262558" y="1196752"/>
          <a:ext cx="5688632" cy="4608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758728709"/>
              </p:ext>
            </p:extLst>
          </p:nvPr>
        </p:nvGraphicFramePr>
        <p:xfrm>
          <a:off x="6239222" y="1124744"/>
          <a:ext cx="5616624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 bwMode="auto">
          <a:xfrm>
            <a:off x="2350790" y="2420888"/>
            <a:ext cx="0" cy="1152128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89635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0" y="-100013"/>
            <a:ext cx="12190413" cy="1225551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3200" b="1" dirty="0">
                <a:solidFill>
                  <a:schemeClr val="accent2">
                    <a:lumMod val="50000"/>
                  </a:schemeClr>
                </a:solidFill>
              </a:rPr>
              <a:t>Структура налоговых и неналоговых доходов</a:t>
            </a:r>
            <a:br>
              <a:rPr lang="ru-RU" sz="3200" b="1" dirty="0">
                <a:solidFill>
                  <a:schemeClr val="accent2">
                    <a:lumMod val="50000"/>
                  </a:schemeClr>
                </a:solidFill>
              </a:rPr>
            </a:br>
            <a:r>
              <a:rPr lang="ru-RU" sz="3200" b="1" dirty="0">
                <a:solidFill>
                  <a:schemeClr val="accent2">
                    <a:lumMod val="50000"/>
                  </a:schemeClr>
                </a:solidFill>
              </a:rPr>
              <a:t>на 2018 - 2021 годы </a:t>
            </a:r>
          </a:p>
        </p:txBody>
      </p:sp>
      <p:sp>
        <p:nvSpPr>
          <p:cNvPr id="50178" name="TextBox 6"/>
          <p:cNvSpPr txBox="1">
            <a:spLocks noChangeArrowheads="1"/>
          </p:cNvSpPr>
          <p:nvPr/>
        </p:nvSpPr>
        <p:spPr bwMode="auto">
          <a:xfrm>
            <a:off x="9839325" y="804863"/>
            <a:ext cx="19192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rgbClr val="003300"/>
                </a:solidFill>
              </a:rPr>
              <a:t>млн. рублей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7695363"/>
              </p:ext>
            </p:extLst>
          </p:nvPr>
        </p:nvGraphicFramePr>
        <p:xfrm>
          <a:off x="119063" y="1196975"/>
          <a:ext cx="11887819" cy="5094670"/>
        </p:xfrm>
        <a:graphic>
          <a:graphicData uri="http://schemas.openxmlformats.org/drawingml/2006/table">
            <a:tbl>
              <a:tblPr/>
              <a:tblGrid>
                <a:gridCol w="4927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99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082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20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748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158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388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4134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+mn-lt"/>
                          <a:cs typeface="Times New Roman" pitchFamily="18" charset="0"/>
                        </a:rPr>
                        <a:t>Источники доходов </a:t>
                      </a:r>
                    </a:p>
                  </a:txBody>
                  <a:tcPr marL="11974" marR="11974" marT="898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2024 год </a:t>
                      </a:r>
                      <a:r>
                        <a:rPr lang="ru-RU" sz="11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(первоначальный)</a:t>
                      </a:r>
                      <a:endParaRPr lang="ru-RU" sz="1200" b="1" i="0" u="none" strike="noStrike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orbe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2025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Отклонение к 2024 год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 2026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 2027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82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err="1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абс</a:t>
                      </a:r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.  сумм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Corbel"/>
                        </a:rPr>
                        <a:t>%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3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Налог на прибыль, доходы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754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91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160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2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00,0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4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18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Налоги на товары (работы, услуги)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38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43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5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3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47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Налоги на совокупный доход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98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21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22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22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30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40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Налог на имущество физических лиц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50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52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1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2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53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53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Земельный налог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100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98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orbel"/>
                        </a:rPr>
                        <a:t>-2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97,3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1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5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Государственная пошлина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12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FF0000"/>
                          </a:solidFill>
                          <a:effectLst/>
                          <a:latin typeface="Corbel"/>
                        </a:rPr>
                        <a:t>-1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88,2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Доходы от использования имущества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76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79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2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3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78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78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0769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Платежи при пользовании природными ресурсами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0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0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07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Доходы от оказания платных услуг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15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4,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C00000"/>
                          </a:solidFill>
                          <a:effectLst/>
                          <a:latin typeface="Corbel"/>
                        </a:rPr>
                        <a:t>-1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92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4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4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Доходы от продажи материальных и нематериальных активов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Corbel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5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Штрафы, санкции, возмещение ущерба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1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0,1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2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0750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Прочие неналоговые доходы</a:t>
                      </a: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5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6,3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B050"/>
                          </a:solidFill>
                          <a:effectLst/>
                          <a:latin typeface="Corbel"/>
                        </a:rPr>
                        <a:t>0,8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5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3894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  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600" b="1" i="0" u="none" strike="noStrike" dirty="0">
                          <a:solidFill>
                            <a:srgbClr val="753312"/>
                          </a:solidFill>
                          <a:effectLst/>
                          <a:latin typeface="Corbel"/>
                        </a:rPr>
                        <a:t>115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342,8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87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16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443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orbel"/>
                        </a:rPr>
                        <a:t>1500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50295" name="Заголовок 1"/>
          <p:cNvSpPr txBox="1">
            <a:spLocks/>
          </p:cNvSpPr>
          <p:nvPr/>
        </p:nvSpPr>
        <p:spPr bwMode="auto">
          <a:xfrm>
            <a:off x="0" y="0"/>
            <a:ext cx="12190413" cy="90805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457200"/>
            <a:br>
              <a:rPr lang="ru-RU" altLang="ru-RU" sz="2400" b="1" dirty="0">
                <a:solidFill>
                  <a:schemeClr val="bg1"/>
                </a:solidFill>
                <a:latin typeface="Corbel" pitchFamily="34" charset="0"/>
              </a:rPr>
            </a:br>
            <a:r>
              <a:rPr lang="ru-RU" altLang="ru-RU" sz="2400" b="1" dirty="0">
                <a:solidFill>
                  <a:schemeClr val="bg1"/>
                </a:solidFill>
                <a:latin typeface="Corbel" pitchFamily="34" charset="0"/>
              </a:rPr>
              <a:t>НАЛОГОВЫЕ И НЕНАЛОГОВЫЕ ДОХОДЫ БЮДЖЕТА ИЗОБИЛЬНЕНСКОГО МУНИЦИПАЛЬНОГО ОКРУГА СТАВРОПОЛЬСКОГО КРАЯ НА 2024-2027 ГОДЫ </a:t>
            </a:r>
            <a:br>
              <a:rPr lang="ru-RU" altLang="ru-RU" sz="2400" b="1" dirty="0">
                <a:solidFill>
                  <a:schemeClr val="bg1"/>
                </a:solidFill>
                <a:latin typeface="Corbel" pitchFamily="34" charset="0"/>
              </a:rPr>
            </a:br>
            <a:endParaRPr lang="ru-RU" altLang="ru-RU" sz="2400" b="1" dirty="0">
              <a:solidFill>
                <a:schemeClr val="bg1"/>
              </a:solidFill>
              <a:latin typeface="Corbel" pitchFamily="34" charset="0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0" y="0"/>
            <a:ext cx="12190413" cy="836613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9pPr>
          </a:lstStyle>
          <a:p>
            <a:pPr eaLnBrk="1" hangingPunct="1">
              <a:defRPr/>
            </a:pPr>
            <a:br>
              <a:rPr lang="ru-RU" altLang="ru-RU" sz="2400" kern="0" dirty="0">
                <a:solidFill>
                  <a:schemeClr val="bg1"/>
                </a:solidFill>
              </a:rPr>
            </a:br>
            <a:endParaRPr lang="ru-RU" altLang="ru-RU" sz="2400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pPr indent="450215" algn="just">
              <a:spcAft>
                <a:spcPts val="0"/>
              </a:spcAft>
            </a:pP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endParaRPr lang="ru-RU" sz="1800" dirty="0">
              <a:latin typeface="Times New Roman"/>
              <a:ea typeface="Times New Roman"/>
            </a:endParaRPr>
          </a:p>
          <a:p>
            <a:r>
              <a:rPr lang="ru-RU" altLang="ru-RU" sz="1800" b="1" kern="0" dirty="0">
                <a:solidFill>
                  <a:schemeClr val="bg1"/>
                </a:solidFill>
              </a:rPr>
              <a:t>ИНФОРМАЦИЯ О  ДОХОДАХ БЮДЖЕТА ИЗОБИЛЬНЕНСКОГО </a:t>
            </a:r>
          </a:p>
          <a:p>
            <a:r>
              <a:rPr lang="ru-RU" altLang="ru-RU" sz="1800" b="1" kern="0" dirty="0">
                <a:solidFill>
                  <a:schemeClr val="bg1"/>
                </a:solidFill>
              </a:rPr>
              <a:t>МУНИЦИПАЛЬНОГО ОКРУГА СТАВРОПОЛЬСКОГО КРАЯ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При определении прогнозируемого объема доходов бюджета</a:t>
            </a:r>
            <a:r>
              <a:rPr lang="ru-RU" sz="1050" dirty="0">
                <a:latin typeface="Arial"/>
                <a:ea typeface="Times New Roman"/>
              </a:rPr>
              <a:t> </a:t>
            </a:r>
            <a:r>
              <a:rPr lang="ru-RU" sz="1600" dirty="0">
                <a:latin typeface="Times New Roman"/>
                <a:ea typeface="Times New Roman"/>
              </a:rPr>
              <a:t>муниципального округа на 2025 год и плановый период 2026 и 2027 годов учитывались следующие концептуальные позиции и сведения, полученные в рамках формирования проекта решения: </a:t>
            </a:r>
            <a:endParaRPr lang="ru-RU" sz="1050" dirty="0">
              <a:latin typeface="Arial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введение новой прогрессивной шкалы по налогу на доходы физических лиц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внесение изменений в налоговое законодательство в части применения стандартных налоговых вычетов при исчислении налога на доходы физических лиц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установление новых нормативов отчислений от налога на доходы физических лиц в отношении налоговой базы превышающей 2,4 миллиона рублей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установление на 2025 год коэффициента, отражающего региональные особенности рынка труда на территории Ставропольского края, используемого для расчета размера фиксированных авансовых платежей, уплачиваемых иностранными гражданами, осуществляющими трудовую деятельность по найму в Российской Федерации на основании патента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индексация ставок акцизов на нефтепродукты,</a:t>
            </a:r>
            <a:r>
              <a:rPr lang="ru-RU" sz="1400" dirty="0">
                <a:latin typeface="Times New Roman"/>
                <a:ea typeface="Times New Roman"/>
              </a:rPr>
              <a:t> </a:t>
            </a:r>
            <a:r>
              <a:rPr lang="ru-RU" sz="1600" dirty="0">
                <a:latin typeface="Times New Roman"/>
                <a:ea typeface="Times New Roman"/>
              </a:rPr>
              <a:t>изменение порядка их перераспределения между субъектами Российской Федерации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увеличение порога получаемого дохода для возможности применения упрощенной системы налогообложения  (далее – УСН) с 200 миллионов рублей до 450 миллионов рублей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отмена освобождения от уплаты налога на добавленную стоимость для плательщиков УСН, в том числе переходящих на УСН с 01 января 2025 года,</a:t>
            </a:r>
            <a:r>
              <a:rPr lang="ru-RU" sz="1400" dirty="0">
                <a:latin typeface="Times New Roman"/>
                <a:ea typeface="Times New Roman"/>
              </a:rPr>
              <a:t> </a:t>
            </a:r>
            <a:r>
              <a:rPr lang="ru-RU" sz="1600" dirty="0">
                <a:latin typeface="Times New Roman"/>
                <a:ea typeface="Times New Roman"/>
              </a:rPr>
              <a:t>чьи доходы в предшествующем налоговом периоде, учитываемые для целей налогообложения в совокупности превысили 60 миллионов рублей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отмена с 01 января 2025 года повышенных ставок по УСН в размере 8 и 20 процентов при превышении в течение налогового периода порога доходов в размере 150 миллионов рублей;</a:t>
            </a:r>
            <a:endParaRPr lang="ru-RU" sz="1400" dirty="0">
              <a:latin typeface="Times New Roman"/>
              <a:ea typeface="Times New Roman"/>
            </a:endParaRPr>
          </a:p>
          <a:p>
            <a:pPr marL="342900" lvl="0" indent="-342900" algn="just">
              <a:spcAft>
                <a:spcPts val="0"/>
              </a:spcAft>
              <a:buFont typeface="+mj-lt"/>
              <a:buAutoNum type="arabicParenR"/>
            </a:pPr>
            <a:r>
              <a:rPr lang="ru-RU" sz="1600" dirty="0">
                <a:latin typeface="Times New Roman"/>
                <a:ea typeface="Times New Roman"/>
              </a:rPr>
              <a:t>продление предоставления «налоговых каникул» для отдельных категорий нало­гоплательщиков - индивидуальных предпринимателей, применяющих УСН  и патентную систему налогообложения до 01 января 2027 года; </a:t>
            </a:r>
            <a:endParaRPr lang="ru-RU" sz="1400" dirty="0">
              <a:latin typeface="Times New Roman"/>
              <a:ea typeface="Times New Roman"/>
            </a:endParaRPr>
          </a:p>
          <a:p>
            <a:endParaRPr lang="ru-RU" altLang="ru-RU" sz="18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pPr marL="342900" indent="-342900" algn="just">
              <a:buAutoNum type="arabicParenR" startAt="4"/>
            </a:pPr>
            <a:endParaRPr lang="ru-RU" sz="1800" dirty="0">
              <a:solidFill>
                <a:schemeClr val="accent6">
                  <a:lumMod val="50000"/>
                </a:schemeClr>
              </a:solidFill>
            </a:endParaRPr>
          </a:p>
          <a:p>
            <a:pPr eaLnBrk="1" hangingPunct="1">
              <a:defRPr/>
            </a:pPr>
            <a:endParaRPr lang="ru-RU" altLang="ru-RU" sz="2400" b="1" kern="0" dirty="0">
              <a:solidFill>
                <a:schemeClr val="bg1"/>
              </a:solidFill>
            </a:endParaRPr>
          </a:p>
          <a:p>
            <a:pPr eaLnBrk="1" hangingPunct="1">
              <a:defRPr/>
            </a:pPr>
            <a:endParaRPr lang="ru-RU" altLang="ru-RU" sz="2400" b="1" kern="0" dirty="0">
              <a:solidFill>
                <a:schemeClr val="bg1"/>
              </a:solidFill>
            </a:endParaRPr>
          </a:p>
        </p:txBody>
      </p:sp>
      <p:sp>
        <p:nvSpPr>
          <p:cNvPr id="32771" name="Прямоугольник 3"/>
          <p:cNvSpPr>
            <a:spLocks noChangeArrowheads="1"/>
          </p:cNvSpPr>
          <p:nvPr/>
        </p:nvSpPr>
        <p:spPr bwMode="auto">
          <a:xfrm>
            <a:off x="218038" y="264417"/>
            <a:ext cx="119999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defTabSz="254000"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	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4211230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0" y="0"/>
            <a:ext cx="12190413" cy="836613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9pPr>
          </a:lstStyle>
          <a:p>
            <a:pPr eaLnBrk="1" hangingPunct="1">
              <a:defRPr/>
            </a:pPr>
            <a:br>
              <a:rPr lang="ru-RU" altLang="ru-RU" sz="2400" kern="0" dirty="0">
                <a:solidFill>
                  <a:schemeClr val="bg1"/>
                </a:solidFill>
              </a:rPr>
            </a:br>
            <a:endParaRPr lang="ru-RU" altLang="ru-RU" sz="2400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r>
              <a:rPr lang="ru-RU" altLang="ru-RU" sz="1800" b="1" kern="0" dirty="0">
                <a:solidFill>
                  <a:schemeClr val="bg1"/>
                </a:solidFill>
              </a:rPr>
              <a:t>ИНФОРМАЦИЯ О  ДОХОДАХ БЮДЖЕТА ИЗОБИЛЬНЕНСКОГО </a:t>
            </a:r>
          </a:p>
          <a:p>
            <a:r>
              <a:rPr lang="ru-RU" altLang="ru-RU" sz="1800" b="1" kern="0" dirty="0">
                <a:solidFill>
                  <a:schemeClr val="bg1"/>
                </a:solidFill>
              </a:rPr>
              <a:t>МУНИЦИПАЛЬНОГО ОКРУГА СТАВРОПОЛЬСКОГО КРАЯ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0)	повышение ставки по налогу на имущество физических лиц в отношении объектов недвижимости, кадастровая стоимость которых превышает 300,0 миллионов рублей до 2,5 процентов;</a:t>
            </a: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1)	стимулирующие меры поддержки бизнеса, применяемые на федеральном и региональном уровне с целью создания условия для </a:t>
            </a:r>
            <a:r>
              <a:rPr lang="ru-RU" sz="1600" dirty="0" err="1">
                <a:latin typeface="Times New Roman"/>
                <a:ea typeface="Times New Roman"/>
              </a:rPr>
              <a:t>импортозамещения</a:t>
            </a:r>
            <a:r>
              <a:rPr lang="ru-RU" sz="1600" dirty="0">
                <a:latin typeface="Times New Roman"/>
                <a:ea typeface="Times New Roman"/>
              </a:rPr>
              <a:t> ввозимых товаров и стабилизации экономики государства;</a:t>
            </a: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2)	продление действия льгот отдельным категориям граждан  Российской  Федерации, принимающим   (принимавшим)   участие   в   специальной  военной  операции, проводимой на территориях Украины, Донецкой Народной Республики и Луганской Народной  Республики  с  24  февраля 2022 года и на территориях Запорожской области   и   Херсонской   области   с  30  сентября  2022  года, а также членам их семей на налоговый период 2024 года;</a:t>
            </a: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3)	введение института туристического налога;</a:t>
            </a: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4)	введение в действие нового Порядка определения размера арендной платы за земельные участки, находящиеся в муниципальной собственности Изобильненского муниципального округа Ставропольского края, и предоставленные в аренду без торгов, утвержденного решением Думы Изобильненского муниципального округа Ставропольского края  от 30 августа 2024 года № 256;</a:t>
            </a:r>
          </a:p>
          <a:p>
            <a:pPr indent="450215" algn="just">
              <a:spcAft>
                <a:spcPts val="0"/>
              </a:spcAft>
            </a:pPr>
            <a:r>
              <a:rPr lang="ru-RU" sz="1600" dirty="0">
                <a:latin typeface="Times New Roman"/>
                <a:ea typeface="Times New Roman"/>
              </a:rPr>
              <a:t>15)	прекращение в 2025 году деятельности на территории муниципального округа юридического лица, уплачивающего в бюджет муниципального округа существенные суммы налога на доходы с физических лиц, открывшего на территории округа обособленное подразделения на время выполнения строительных и пусконаладочных работ, предусмотренных контрактом. </a:t>
            </a:r>
          </a:p>
          <a:p>
            <a:endParaRPr lang="ru-RU" altLang="ru-RU" sz="18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pPr marL="342900" indent="-342900" algn="just">
              <a:buAutoNum type="arabicParenR" startAt="4"/>
            </a:pPr>
            <a:endParaRPr lang="ru-RU" sz="1800" dirty="0">
              <a:solidFill>
                <a:schemeClr val="accent6">
                  <a:lumMod val="50000"/>
                </a:schemeClr>
              </a:solidFill>
            </a:endParaRPr>
          </a:p>
          <a:p>
            <a:pPr eaLnBrk="1" hangingPunct="1">
              <a:defRPr/>
            </a:pPr>
            <a:endParaRPr lang="ru-RU" altLang="ru-RU" sz="2400" b="1" kern="0" dirty="0">
              <a:solidFill>
                <a:schemeClr val="bg1"/>
              </a:solidFill>
            </a:endParaRPr>
          </a:p>
          <a:p>
            <a:pPr eaLnBrk="1" hangingPunct="1">
              <a:defRPr/>
            </a:pPr>
            <a:endParaRPr lang="ru-RU" altLang="ru-RU" sz="2400" b="1" kern="0" dirty="0">
              <a:solidFill>
                <a:schemeClr val="bg1"/>
              </a:solidFill>
            </a:endParaRPr>
          </a:p>
        </p:txBody>
      </p:sp>
      <p:sp>
        <p:nvSpPr>
          <p:cNvPr id="32771" name="Прямоугольник 3"/>
          <p:cNvSpPr>
            <a:spLocks noChangeArrowheads="1"/>
          </p:cNvSpPr>
          <p:nvPr/>
        </p:nvSpPr>
        <p:spPr bwMode="auto">
          <a:xfrm>
            <a:off x="218038" y="264417"/>
            <a:ext cx="119999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defTabSz="254000"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	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8322996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0" y="0"/>
            <a:ext cx="12190413" cy="836613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txBody>
          <a:bodyPr anchor="ctr"/>
          <a:lstStyle>
            <a:lvl1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Corbel" pitchFamily="34" charset="0"/>
              </a:defRPr>
            </a:lvl9pPr>
          </a:lstStyle>
          <a:p>
            <a:pPr algn="just"/>
            <a:br>
              <a:rPr lang="ru-RU" altLang="ru-RU" sz="2400" kern="0" dirty="0">
                <a:solidFill>
                  <a:schemeClr val="bg1"/>
                </a:solidFill>
              </a:rPr>
            </a:br>
            <a:endParaRPr lang="ru-RU" altLang="ru-RU" sz="2400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  <a:p>
            <a:r>
              <a:rPr lang="ru-RU" altLang="ru-RU" sz="2400" b="1" kern="0" dirty="0">
                <a:solidFill>
                  <a:schemeClr val="bg1"/>
                </a:solidFill>
              </a:rPr>
              <a:t>ИНФОРМАЦИЯ О  ДОХОДАХ БЮДЖЕТА </a:t>
            </a:r>
          </a:p>
          <a:p>
            <a:r>
              <a:rPr lang="ru-RU" altLang="ru-RU" sz="2400" b="1" kern="0" dirty="0">
                <a:solidFill>
                  <a:schemeClr val="bg1"/>
                </a:solidFill>
              </a:rPr>
              <a:t>ИЗОБИЛЬНЕНСКОГО МУНИЦИПАЛЬНОГО ОКРУГА СТАВРОПОЛЬСКОГО КРАЯ</a:t>
            </a:r>
            <a:br>
              <a:rPr lang="ru-RU" altLang="ru-RU" sz="2400" b="1" kern="0" dirty="0">
                <a:solidFill>
                  <a:schemeClr val="bg1"/>
                </a:solidFill>
              </a:rPr>
            </a:br>
            <a:endParaRPr lang="ru-RU" sz="24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Объем доходов бюджета муниципального округа без учета безвозмездных поступлений определен на 2025 год в сумме 1 342 825 526,86 рубля, в том числе налоговые доходы – 1 240 824 762,80 рубля, неналоговые доходы – 102 000 764,06 рубля. 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Прогнозируемый прирост поступлений налоговых и неналоговых доходов в бюджет муниципального округа в 2025 году к первоначальному плану доходов на 2024 год составит 187 152 819,94 рубля или 16,19 процента.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Объем доходов бюджета муниципального округа без учета безвозмездных поступлений на 2026 год определен в сумме 1 443 787 907,73 рубля, в том числе налоговые доходы – 1 341 902 417,00 рубля, неналоговые доходы – 101 885 490,73 рубля. 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Прогнозируемый прирост поступлений налоговых и неналоговых доходов в бюджет муниципального округа в 2026 году прогнозно составит 100 962 380,87 рубля или 7,52 процента по отношению к  планируемым показателям на 2025 год.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Объем доходов бюджета муниципального округа без учета безвозмездных поступлений определен на 2027 год  в сумме 1 500 727 922,73 рубля, в том числе налоговые доходы – 1 404 833 047,00 рублей, неналоговые доходы – 95 894 875,73 рубля. </a:t>
            </a:r>
            <a:endParaRPr lang="ru-RU" sz="1800" dirty="0">
              <a:latin typeface="Times New Roman"/>
              <a:ea typeface="Times New Roman"/>
            </a:endParaRPr>
          </a:p>
          <a:p>
            <a:pPr indent="450215" algn="just">
              <a:spcAft>
                <a:spcPts val="0"/>
              </a:spcAft>
            </a:pPr>
            <a:r>
              <a:rPr lang="ru-RU" sz="2000" dirty="0">
                <a:latin typeface="Times New Roman"/>
                <a:ea typeface="Times New Roman"/>
              </a:rPr>
              <a:t>Прогнозируемый рост поступлений налоговых и неналоговых доходов в бюджет муниципального округа в 2027 году составит 56 940 015,00 рублей или 3,94 процента по отношению к  планируемым показателям на 2026 год.</a:t>
            </a:r>
            <a:endParaRPr lang="ru-RU" sz="1800" dirty="0">
              <a:latin typeface="Times New Roman"/>
              <a:ea typeface="Times New Roman"/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pPr algn="just"/>
            <a:endParaRPr lang="ru-RU" altLang="ru-RU" sz="2400" b="1" kern="0" dirty="0">
              <a:solidFill>
                <a:schemeClr val="bg1"/>
              </a:solidFill>
            </a:endParaRPr>
          </a:p>
          <a:p>
            <a:endParaRPr lang="ru-RU" altLang="ru-RU" sz="2400" b="1" kern="0" dirty="0">
              <a:solidFill>
                <a:schemeClr val="bg1"/>
              </a:solidFill>
            </a:endParaRPr>
          </a:p>
        </p:txBody>
      </p:sp>
      <p:sp>
        <p:nvSpPr>
          <p:cNvPr id="32771" name="Прямоугольник 3"/>
          <p:cNvSpPr>
            <a:spLocks noChangeArrowheads="1"/>
          </p:cNvSpPr>
          <p:nvPr/>
        </p:nvSpPr>
        <p:spPr bwMode="auto">
          <a:xfrm>
            <a:off x="190500" y="836613"/>
            <a:ext cx="119999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defTabSz="254000">
              <a:defRPr/>
            </a:pP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	</a:t>
            </a:r>
            <a:endParaRPr lang="ru-RU" sz="1600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107156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РАСХОДЫ БЮДЖЕТА ПО РАЗДЕЛАМ И ПОДРАЗДЕЛАМ КЛАССИФИКАЦИИ РАСХОДОВ БЮДЖЕТА НА 202</a:t>
            </a:r>
            <a:r>
              <a:rPr lang="en-US" altLang="ru-RU" sz="2800" b="1" dirty="0">
                <a:solidFill>
                  <a:schemeClr val="bg1"/>
                </a:solidFill>
              </a:rPr>
              <a:t>3</a:t>
            </a:r>
            <a:r>
              <a:rPr lang="ru-RU" altLang="ru-RU" sz="2800" b="1" dirty="0">
                <a:solidFill>
                  <a:schemeClr val="bg1"/>
                </a:solidFill>
              </a:rPr>
              <a:t>-202</a:t>
            </a:r>
            <a:r>
              <a:rPr lang="en-US" altLang="ru-RU" sz="2800" b="1" dirty="0">
                <a:solidFill>
                  <a:schemeClr val="bg1"/>
                </a:solidFill>
              </a:rPr>
              <a:t>6</a:t>
            </a:r>
            <a:r>
              <a:rPr lang="ru-RU" altLang="ru-RU" sz="2800" b="1" dirty="0">
                <a:solidFill>
                  <a:schemeClr val="bg1"/>
                </a:solidFill>
              </a:rPr>
              <a:t> ГОДЫ </a:t>
            </a:r>
          </a:p>
        </p:txBody>
      </p:sp>
      <p:graphicFrame>
        <p:nvGraphicFramePr>
          <p:cNvPr id="34901" name="Group 8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07107471"/>
              </p:ext>
            </p:extLst>
          </p:nvPr>
        </p:nvGraphicFramePr>
        <p:xfrm>
          <a:off x="46038" y="1474788"/>
          <a:ext cx="12096750" cy="5376226"/>
        </p:xfrm>
        <a:graphic>
          <a:graphicData uri="http://schemas.openxmlformats.org/drawingml/2006/table">
            <a:tbl>
              <a:tblPr/>
              <a:tblGrid>
                <a:gridCol w="4191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26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15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3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6851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96917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</a:t>
                      </a:r>
                      <a:r>
                        <a:rPr lang="en-US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3</a:t>
                      </a:r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</a:t>
                      </a:r>
                      <a:r>
                        <a:rPr lang="en-US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4</a:t>
                      </a:r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</a:t>
                      </a:r>
                      <a:r>
                        <a:rPr lang="en-US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5</a:t>
                      </a:r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</a:t>
                      </a:r>
                      <a:r>
                        <a:rPr lang="en-US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6</a:t>
                      </a:r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75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щегосударственные вопросы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339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429,92</a:t>
                      </a:r>
                      <a:endParaRPr lang="ru-RU" sz="18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384,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369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4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циональная оборона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,9</a:t>
                      </a:r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40168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циональная безопасность и правоохранительная деятельность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2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3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2,1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1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75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циональная экономика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30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86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41,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55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515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Жилищно-коммунальное хозяйство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19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54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20,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06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819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разование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 187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 522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 504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 38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75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ультура и кинематография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48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40,4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38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37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819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иальная политика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693,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523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487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475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675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Физическая культура и спорт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7,1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8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3,6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3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640168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служивание государственного и муниципального долга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675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словно-утвержденные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00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88,6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124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5819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ТОГО</a:t>
                      </a:r>
                    </a:p>
                  </a:txBody>
                  <a:tcPr marT="45735" marB="4573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 658,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 902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 803,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2 685,9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58450" name="TextBox 5"/>
          <p:cNvSpPr txBox="1">
            <a:spLocks noChangeArrowheads="1"/>
          </p:cNvSpPr>
          <p:nvPr/>
        </p:nvSpPr>
        <p:spPr bwMode="auto">
          <a:xfrm>
            <a:off x="10912475" y="1044575"/>
            <a:ext cx="1447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>
                <a:solidFill>
                  <a:srgbClr val="002060"/>
                </a:solidFill>
                <a:latin typeface="Corbel" pitchFamily="34" charset="0"/>
              </a:rPr>
              <a:t>млн. руб.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1130598868"/>
              </p:ext>
            </p:extLst>
          </p:nvPr>
        </p:nvGraphicFramePr>
        <p:xfrm>
          <a:off x="2031735" y="720019"/>
          <a:ext cx="8126942" cy="5417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8256"/>
            <a:ext cx="12190413" cy="1143000"/>
          </a:xfrm>
        </p:spPr>
        <p:txBody>
          <a:bodyPr>
            <a:noAutofit/>
          </a:bodyPr>
          <a:lstStyle/>
          <a:p>
            <a:pPr>
              <a:tabLst>
                <a:tab pos="4190581" algn="l"/>
              </a:tabLst>
            </a:pPr>
            <a:r>
              <a:rPr lang="ru-RU" sz="4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труктура расходов бюджета </a:t>
            </a:r>
            <a:br>
              <a:rPr lang="ru-RU" sz="4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ru-RU" sz="4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TextBox 6"/>
          <p:cNvSpPr txBox="1"/>
          <p:nvPr/>
        </p:nvSpPr>
        <p:spPr>
          <a:xfrm>
            <a:off x="10031131" y="476672"/>
            <a:ext cx="1918649" cy="40009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лн. рублей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967068" y="3717032"/>
            <a:ext cx="2184118" cy="1277261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4300" b="1" dirty="0">
                <a:solidFill>
                  <a:schemeClr val="bg1"/>
                </a:solidFill>
              </a:rPr>
              <a:t>2</a:t>
            </a:r>
            <a:r>
              <a:rPr lang="en-US" sz="4300" b="1" dirty="0">
                <a:solidFill>
                  <a:schemeClr val="bg1"/>
                </a:solidFill>
              </a:rPr>
              <a:t>9</a:t>
            </a:r>
            <a:r>
              <a:rPr lang="ru-RU" sz="4300" b="1" dirty="0">
                <a:solidFill>
                  <a:schemeClr val="bg1"/>
                </a:solidFill>
              </a:rPr>
              <a:t>3</a:t>
            </a:r>
            <a:r>
              <a:rPr lang="en-US" sz="4300" b="1" dirty="0">
                <a:solidFill>
                  <a:schemeClr val="bg1"/>
                </a:solidFill>
              </a:rPr>
              <a:t>0</a:t>
            </a:r>
            <a:r>
              <a:rPr lang="ru-RU" sz="4300" b="1" dirty="0">
                <a:solidFill>
                  <a:schemeClr val="bg1"/>
                </a:solidFill>
              </a:rPr>
              <a:t>,9</a:t>
            </a:r>
          </a:p>
          <a:p>
            <a:r>
              <a:rPr lang="ru-RU" sz="3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  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7349446" y="745347"/>
            <a:ext cx="4258291" cy="446264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accent6">
                    <a:lumMod val="75000"/>
                  </a:schemeClr>
                </a:solidFill>
              </a:rPr>
              <a:t>Социальные выплаты (435,2)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1607738" y="6540833"/>
            <a:ext cx="684088" cy="369332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015170" y="3573016"/>
            <a:ext cx="2760713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671196" y="5381636"/>
            <a:ext cx="0" cy="327848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6671196" y="5709484"/>
            <a:ext cx="2303956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8183438" y="3553659"/>
            <a:ext cx="3688727" cy="446264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accent1">
                    <a:lumMod val="75000"/>
                  </a:schemeClr>
                </a:solidFill>
              </a:rPr>
              <a:t>Прочие расходы (355,6)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425439" y="5457533"/>
            <a:ext cx="2077819" cy="0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3503257" y="4005064"/>
            <a:ext cx="600403" cy="1462709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6811647" y="5378630"/>
            <a:ext cx="3782421" cy="661707"/>
          </a:xfrm>
          <a:prstGeom prst="rect">
            <a:avLst/>
          </a:prstGeom>
          <a:noFill/>
        </p:spPr>
        <p:txBody>
          <a:bodyPr wrap="none" lIns="121908" tIns="60954" rIns="121908" bIns="60954" rtlCol="0">
            <a:spAutoFit/>
          </a:bodyPr>
          <a:lstStyle/>
          <a:p>
            <a:pPr>
              <a:lnSpc>
                <a:spcPts val="2133"/>
              </a:lnSpc>
            </a:pPr>
            <a:r>
              <a:rPr lang="ru-RU" sz="2100" b="1" dirty="0">
                <a:solidFill>
                  <a:schemeClr val="accent3">
                    <a:lumMod val="50000"/>
                  </a:schemeClr>
                </a:solidFill>
              </a:rPr>
              <a:t>Оплата труда </a:t>
            </a:r>
          </a:p>
          <a:p>
            <a:pPr>
              <a:lnSpc>
                <a:spcPts val="2133"/>
              </a:lnSpc>
            </a:pPr>
            <a:r>
              <a:rPr lang="ru-RU" sz="2100" b="1" dirty="0">
                <a:solidFill>
                  <a:schemeClr val="accent3">
                    <a:lumMod val="50000"/>
                  </a:schemeClr>
                </a:solidFill>
              </a:rPr>
              <a:t>с начислениями (1 656,3)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6059127" y="1760439"/>
            <a:ext cx="4534941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9701184" y="1314175"/>
            <a:ext cx="1057316" cy="446264"/>
          </a:xfrm>
          <a:prstGeom prst="rect">
            <a:avLst/>
          </a:prstGeom>
          <a:noFill/>
        </p:spPr>
        <p:txBody>
          <a:bodyPr wrap="non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(21</a:t>
            </a:r>
            <a:r>
              <a:rPr lang="en-US" sz="2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,</a:t>
            </a:r>
            <a:r>
              <a:rPr lang="ru-RU" sz="2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7)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8507932" y="1314175"/>
            <a:ext cx="1233647" cy="446264"/>
          </a:xfrm>
          <a:prstGeom prst="rect">
            <a:avLst/>
          </a:prstGeom>
          <a:noFill/>
        </p:spPr>
        <p:txBody>
          <a:bodyPr wrap="non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Налоги</a:t>
            </a: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 flipV="1">
            <a:off x="6959192" y="1196753"/>
            <a:ext cx="95997" cy="435988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 flipV="1">
            <a:off x="7066401" y="1205122"/>
            <a:ext cx="4116711" cy="1"/>
          </a:xfrm>
          <a:prstGeom prst="line">
            <a:avLst/>
          </a:prstGeom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9" name="TextBox 2048"/>
          <p:cNvSpPr txBox="1"/>
          <p:nvPr/>
        </p:nvSpPr>
        <p:spPr>
          <a:xfrm>
            <a:off x="546278" y="932444"/>
            <a:ext cx="4194394" cy="446264"/>
          </a:xfrm>
          <a:prstGeom prst="rect">
            <a:avLst/>
          </a:prstGeom>
          <a:noFill/>
        </p:spPr>
        <p:txBody>
          <a:bodyPr wrap="non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bg2">
                    <a:lumMod val="25000"/>
                  </a:schemeClr>
                </a:solidFill>
              </a:rPr>
              <a:t> (213) Коммунальные услуги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134766" y="2600038"/>
            <a:ext cx="2160240" cy="1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/>
        </p:nvCxnSpPr>
        <p:spPr>
          <a:xfrm flipV="1">
            <a:off x="2828391" y="2600038"/>
            <a:ext cx="24118" cy="396916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 flipV="1">
            <a:off x="335316" y="2989585"/>
            <a:ext cx="2493073" cy="5039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58" name="TextBox 2057"/>
          <p:cNvSpPr txBox="1"/>
          <p:nvPr/>
        </p:nvSpPr>
        <p:spPr>
          <a:xfrm>
            <a:off x="331254" y="2276873"/>
            <a:ext cx="2698791" cy="769429"/>
          </a:xfrm>
          <a:prstGeom prst="rect">
            <a:avLst/>
          </a:prstGeom>
          <a:noFill/>
        </p:spPr>
        <p:txBody>
          <a:bodyPr wrap="non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accent4">
                    <a:lumMod val="75000"/>
                  </a:schemeClr>
                </a:solidFill>
              </a:rPr>
              <a:t>Содержание дорог</a:t>
            </a:r>
          </a:p>
          <a:p>
            <a:r>
              <a:rPr lang="ru-RU" sz="2100" b="1" dirty="0">
                <a:solidFill>
                  <a:schemeClr val="accent4">
                    <a:lumMod val="75000"/>
                  </a:schemeClr>
                </a:solidFill>
              </a:rPr>
              <a:t>(100,7)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1366460" y="1825705"/>
            <a:ext cx="3504610" cy="0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flipV="1">
            <a:off x="4871070" y="1823339"/>
            <a:ext cx="0" cy="378304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4" name="TextBox 2063"/>
          <p:cNvSpPr txBox="1"/>
          <p:nvPr/>
        </p:nvSpPr>
        <p:spPr>
          <a:xfrm>
            <a:off x="1394894" y="1407038"/>
            <a:ext cx="3243812" cy="446264"/>
          </a:xfrm>
          <a:prstGeom prst="rect">
            <a:avLst/>
          </a:prstGeom>
          <a:noFill/>
          <a:ln>
            <a:noFill/>
          </a:ln>
        </p:spPr>
        <p:txBody>
          <a:bodyPr wrap="none" lIns="121908" tIns="60954" rIns="121908" bIns="60954" rtlCol="0">
            <a:spAutoFit/>
          </a:bodyPr>
          <a:lstStyle/>
          <a:p>
            <a:r>
              <a:rPr lang="ru-RU" sz="2100" b="1" dirty="0">
                <a:solidFill>
                  <a:schemeClr val="accent5">
                    <a:lumMod val="75000"/>
                  </a:schemeClr>
                </a:solidFill>
              </a:rPr>
              <a:t>148,4Благоустройство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1553917" y="6160373"/>
            <a:ext cx="636496" cy="69762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3700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22598" y="1378708"/>
            <a:ext cx="4968552" cy="0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5591150" y="1348155"/>
            <a:ext cx="0" cy="378304"/>
          </a:xfrm>
          <a:prstGeom prst="line">
            <a:avLst/>
          </a:prstGeom>
          <a:ln w="12700"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3146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61938" y="476250"/>
            <a:ext cx="11809412" cy="65563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Администратор доходов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рган государственной власти (государственный орган), орган местного самоуправления, орган местной администрации, орган управления государственным внебюджетным фондом, Центральный банк Российской Федерации, бюджетное учреждение, осуществляющие в соответствии с законодательством Российской Федерации контроль за правильностью исчисления, полнотой и своевременностью уплаты, начисление, учет, взыскание и принятие решений о возврате (зачете) излишне уплаченных (взысканных) платежей, пеней и штрафов по ним, являющихся доходами бюджетов бюджетной системы Российской Федерации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Администратор источников финансирования дефицита бюджета (администратор источников финансирования дефицита соответствующего бюджета)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рган государственной власти (государственный орган), орган местного самоуправления, орган местной администрации, орган управления государственным внебюджетным фондом, иная организация, имеющие право в соответствии с Бюджетным кодексом осуществлять операции с источниками финансирования дефицита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alt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</a:t>
            </a:r>
            <a:r>
              <a:rPr lang="ru-RU" altLang="ru-RU" sz="1400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 </a:t>
            </a:r>
            <a:r>
              <a:rPr lang="ru-RU" alt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– форма образования и расходования денежных средств, предназначенных для финансового обеспечения </a:t>
            </a:r>
          </a:p>
          <a:p>
            <a:pPr algn="just">
              <a:defRPr/>
            </a:pPr>
            <a:r>
              <a:rPr lang="ru-RU" alt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задач и   функций государства и местного самоуправления.</a:t>
            </a:r>
          </a:p>
          <a:p>
            <a:pPr algn="just">
              <a:defRPr/>
            </a:pPr>
            <a:endParaRPr lang="ru-RU" alt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ая роспись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- 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Бюджетным кодексом в целях исполнения бюджета по расходам (источникам финансирования дефицита бюджета).</a:t>
            </a:r>
            <a:r>
              <a:rPr lang="ru-RU" alt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 </a:t>
            </a:r>
          </a:p>
          <a:p>
            <a:pPr algn="just">
              <a:defRPr/>
            </a:pPr>
            <a:endParaRPr lang="ru-RU" alt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ая система Российской Федерации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снованная на экономических отношениях и государственном устройстве Российской Федерации, регулируемая законодательством Российской Федерации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pPr algn="just">
              <a:defRPr/>
            </a:pPr>
            <a:endParaRPr lang="ru-RU" alt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ая см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документ, устанавливающий в соответствии с классификацией расходов бюджетов лимиты бюджетных обязательств казенного учреждения.</a:t>
            </a:r>
          </a:p>
          <a:p>
            <a:pPr algn="just">
              <a:defRPr/>
            </a:pPr>
            <a:endParaRPr lang="ru-RU" alt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 algn="just"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ое учреждение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- государственное (муниципальное) учреждение, финансовое обеспечение выполнения функций которого, в том числе по оказанию государственных (муниципальных) услуг физическим и юридическим лицам в соответствии с государственным (муниципальным) заданием, осуществляется за счет средств соответствующего бюджета на основе бюджетной сметы.</a:t>
            </a:r>
            <a:endParaRPr lang="ru-RU" alt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7" name="Rectangle 14"/>
          <p:cNvSpPr txBox="1">
            <a:spLocks noChangeArrowheads="1"/>
          </p:cNvSpPr>
          <p:nvPr/>
        </p:nvSpPr>
        <p:spPr>
          <a:xfrm>
            <a:off x="334963" y="-26988"/>
            <a:ext cx="11133137" cy="1008063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1438275" algn="l"/>
              </a:tabLst>
              <a:defRPr/>
            </a:pPr>
            <a:r>
              <a:rPr lang="ru-RU" altLang="ru-RU" sz="28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Lucida Console" pitchFamily="49" charset="0"/>
              </a:rPr>
              <a:t>ГЛОССАРИЙ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Скругленный прямоугольник 40"/>
          <p:cNvSpPr/>
          <p:nvPr/>
        </p:nvSpPr>
        <p:spPr>
          <a:xfrm>
            <a:off x="164243" y="5733256"/>
            <a:ext cx="11832551" cy="840289"/>
          </a:xfrm>
          <a:prstGeom prst="roundRect">
            <a:avLst>
              <a:gd name="adj" fmla="val 50000"/>
            </a:avLst>
          </a:prstGeom>
          <a:solidFill>
            <a:schemeClr val="tx2">
              <a:lumMod val="75000"/>
              <a:alpha val="74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anchor="ctr"/>
          <a:lstStyle/>
          <a:p>
            <a:pPr marL="1792288" algn="just">
              <a:lnSpc>
                <a:spcPts val="2200"/>
              </a:lnSpc>
              <a:defRPr/>
            </a:pPr>
            <a:endParaRPr lang="ru-RU" sz="2400" b="1" dirty="0">
              <a:solidFill>
                <a:schemeClr val="tx1"/>
              </a:solidFill>
            </a:endParaRPr>
          </a:p>
          <a:p>
            <a:pPr marL="1792288" algn="just">
              <a:lnSpc>
                <a:spcPts val="2200"/>
              </a:lnSpc>
              <a:defRPr/>
            </a:pPr>
            <a:r>
              <a:rPr lang="ru-RU" sz="2400" b="1" dirty="0">
                <a:solidFill>
                  <a:schemeClr val="tx1"/>
                </a:solidFill>
              </a:rPr>
              <a:t>Обеспечение доступным и комфортным жильем молодых семей</a:t>
            </a:r>
            <a:endParaRPr lang="ru-RU" sz="2800" dirty="0">
              <a:hlinkClick r:id="rId3"/>
            </a:endParaRPr>
          </a:p>
          <a:p>
            <a:pPr algn="just">
              <a:lnSpc>
                <a:spcPts val="2200"/>
              </a:lnSpc>
              <a:defRPr/>
            </a:pP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23948" y="1726236"/>
            <a:ext cx="11904497" cy="866306"/>
          </a:xfrm>
          <a:prstGeom prst="roundRect">
            <a:avLst>
              <a:gd name="adj" fmla="val 50000"/>
            </a:avLst>
          </a:prstGeom>
          <a:solidFill>
            <a:schemeClr val="tx2">
              <a:lumMod val="60000"/>
              <a:lumOff val="40000"/>
              <a:alpha val="74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anchor="ctr"/>
          <a:lstStyle/>
          <a:p>
            <a:pPr>
              <a:lnSpc>
                <a:spcPts val="2400"/>
              </a:lnSpc>
              <a:tabLst>
                <a:tab pos="90488" algn="l"/>
                <a:tab pos="806450" algn="l"/>
              </a:tabLst>
              <a:defRPr/>
            </a:pPr>
            <a:r>
              <a:rPr lang="ru-RU" sz="2400" b="1" dirty="0">
                <a:solidFill>
                  <a:schemeClr val="tx1"/>
                </a:solidFill>
              </a:rPr>
              <a:t>                          Благоустройство сквера в п. </a:t>
            </a:r>
            <a:r>
              <a:rPr lang="ru-RU" sz="2400" b="1" dirty="0" err="1">
                <a:solidFill>
                  <a:schemeClr val="tx1"/>
                </a:solidFill>
              </a:rPr>
              <a:t>Солнечнодольске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172870" y="2852936"/>
            <a:ext cx="11832550" cy="886211"/>
          </a:xfrm>
          <a:prstGeom prst="roundRect">
            <a:avLst>
              <a:gd name="adj" fmla="val 50000"/>
            </a:avLst>
          </a:prstGeom>
          <a:solidFill>
            <a:schemeClr val="accent2">
              <a:lumMod val="50000"/>
              <a:alpha val="73333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anchor="ctr"/>
          <a:lstStyle/>
          <a:p>
            <a:pPr marL="1882775" algn="just">
              <a:lnSpc>
                <a:spcPts val="2100"/>
              </a:lnSpc>
              <a:tabLst>
                <a:tab pos="1349375" algn="l"/>
              </a:tabLst>
              <a:defRPr/>
            </a:pPr>
            <a:r>
              <a:rPr lang="ru-RU" sz="2400" b="1" dirty="0">
                <a:solidFill>
                  <a:schemeClr val="tx1"/>
                </a:solidFill>
              </a:rPr>
              <a:t>Капитальный ремонт и ремонт автомобильных дорог общего пользования местного значения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317065" y="1870252"/>
            <a:ext cx="1902938" cy="578273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0,</a:t>
            </a:r>
            <a:r>
              <a:rPr lang="en-US" sz="28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5</a:t>
            </a:r>
            <a:endParaRPr lang="ru-RU" sz="28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1414686" y="5856395"/>
            <a:ext cx="2011084" cy="594010"/>
          </a:xfrm>
          <a:prstGeom prst="roundRect">
            <a:avLst>
              <a:gd name="adj" fmla="val 50000"/>
            </a:avLst>
          </a:prstGeom>
          <a:solidFill>
            <a:schemeClr val="bg2">
              <a:lumMod val="90000"/>
            </a:schemeClr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600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12,4</a:t>
            </a:r>
            <a:endParaRPr lang="ru-RU" sz="28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62487" name="Заголовок 1"/>
          <p:cNvSpPr txBox="1">
            <a:spLocks/>
          </p:cNvSpPr>
          <p:nvPr/>
        </p:nvSpPr>
        <p:spPr bwMode="auto">
          <a:xfrm>
            <a:off x="0" y="0"/>
            <a:ext cx="12190413" cy="765175"/>
          </a:xfrm>
          <a:prstGeom prst="rect">
            <a:avLst/>
          </a:prstGeom>
          <a:solidFill>
            <a:schemeClr val="bg2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altLang="ru-RU" sz="2800" b="1" dirty="0">
                <a:solidFill>
                  <a:schemeClr val="bg1"/>
                </a:solidFill>
                <a:latin typeface="Trebuchet MS" pitchFamily="34" charset="0"/>
              </a:rPr>
              <a:t>ОБЩЕСТВЕННО-ЗНАЧИМЫЕ ПРОЕКТЫ В </a:t>
            </a:r>
            <a:r>
              <a:rPr lang="ru-RU" altLang="ru-RU" sz="2800" b="1" dirty="0">
                <a:solidFill>
                  <a:schemeClr val="bg1"/>
                </a:solidFill>
                <a:latin typeface="Calibri" pitchFamily="34" charset="0"/>
              </a:rPr>
              <a:t>2025 </a:t>
            </a:r>
            <a:r>
              <a:rPr lang="ru-RU" altLang="ru-RU" sz="2800" b="1" dirty="0">
                <a:solidFill>
                  <a:schemeClr val="bg1"/>
                </a:solidFill>
                <a:latin typeface="Trebuchet MS" pitchFamily="34" charset="0"/>
              </a:rPr>
              <a:t>ГОДУ</a:t>
            </a:r>
          </a:p>
        </p:txBody>
      </p:sp>
      <p:sp>
        <p:nvSpPr>
          <p:cNvPr id="62488" name="TextBox 6"/>
          <p:cNvSpPr txBox="1">
            <a:spLocks noChangeArrowheads="1"/>
          </p:cNvSpPr>
          <p:nvPr/>
        </p:nvSpPr>
        <p:spPr bwMode="auto">
          <a:xfrm>
            <a:off x="10033000" y="992188"/>
            <a:ext cx="191770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 dirty="0">
                <a:solidFill>
                  <a:srgbClr val="003300"/>
                </a:solidFill>
                <a:latin typeface="Georgia" pitchFamily="18" charset="0"/>
              </a:rPr>
              <a:t>млн. рублей</a:t>
            </a:r>
          </a:p>
        </p:txBody>
      </p:sp>
      <p:pic>
        <p:nvPicPr>
          <p:cNvPr id="62489" name="Picture 2" descr="C:\Documents and Settings\finkvma1\Рабочий стол\Почта\Открытый бюджет\бкд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3952" y="2924944"/>
            <a:ext cx="882650" cy="71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2490" name="Picture 6" descr="C:\Users\Пользователь2\Desktop\Почта\мои документы\png-transparent-family-child-family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76485" y="5755874"/>
            <a:ext cx="930275" cy="749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298" name="Picture 2" descr="C:\Users\Пользователь2\Desktop\Почта\Открытый бюджет\2024 г\665746_html_f69c4224c3f63da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503" y="1855912"/>
            <a:ext cx="924293" cy="606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Скругленный прямоугольник 12"/>
          <p:cNvSpPr/>
          <p:nvPr/>
        </p:nvSpPr>
        <p:spPr>
          <a:xfrm>
            <a:off x="186187" y="4292017"/>
            <a:ext cx="11832550" cy="886211"/>
          </a:xfrm>
          <a:prstGeom prst="roundRect">
            <a:avLst>
              <a:gd name="adj" fmla="val 50000"/>
            </a:avLst>
          </a:prstGeom>
          <a:solidFill>
            <a:schemeClr val="accent4">
              <a:lumMod val="50000"/>
              <a:alpha val="73333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matte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548000" rIns="144000" anchor="ctr"/>
          <a:lstStyle/>
          <a:p>
            <a:pPr marL="1882775" algn="just">
              <a:lnSpc>
                <a:spcPts val="2100"/>
              </a:lnSpc>
              <a:tabLst>
                <a:tab pos="1349375" algn="l"/>
              </a:tabLst>
              <a:defRPr/>
            </a:pPr>
            <a:r>
              <a:rPr lang="ru-RU" sz="2400" b="1" dirty="0">
                <a:solidFill>
                  <a:schemeClr val="tx1"/>
                </a:solidFill>
              </a:rPr>
              <a:t>Транспортное обслуживание населения сельских территорий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332342" y="2993333"/>
            <a:ext cx="1887661" cy="576008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100,7</a:t>
            </a: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330836" y="4447118"/>
            <a:ext cx="2094934" cy="576008"/>
          </a:xfrm>
          <a:prstGeom prst="roundRect">
            <a:avLst>
              <a:gd name="adj" fmla="val 50000"/>
            </a:avLst>
          </a:prstGeom>
          <a:solidFill>
            <a:schemeClr val="accent4">
              <a:lumMod val="40000"/>
              <a:lumOff val="6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5,6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22" y="4342989"/>
            <a:ext cx="885780" cy="886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981075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Расходы бюджета в разрезе видов расходов бюджета на 2025 год и плановый период 2026 и 2027</a:t>
            </a:r>
            <a:r>
              <a:rPr lang="en-US" altLang="ru-RU" sz="2800" b="1" dirty="0">
                <a:solidFill>
                  <a:schemeClr val="bg1"/>
                </a:solidFill>
              </a:rPr>
              <a:t> </a:t>
            </a:r>
            <a:r>
              <a:rPr lang="ru-RU" altLang="ru-RU" sz="2800" b="1" dirty="0">
                <a:solidFill>
                  <a:schemeClr val="bg1"/>
                </a:solidFill>
              </a:rPr>
              <a:t>годы </a:t>
            </a:r>
          </a:p>
        </p:txBody>
      </p:sp>
      <p:graphicFrame>
        <p:nvGraphicFramePr>
          <p:cNvPr id="263244" name="Group 7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767176539"/>
              </p:ext>
            </p:extLst>
          </p:nvPr>
        </p:nvGraphicFramePr>
        <p:xfrm>
          <a:off x="190500" y="1423988"/>
          <a:ext cx="11809413" cy="5148936"/>
        </p:xfrm>
        <a:graphic>
          <a:graphicData uri="http://schemas.openxmlformats.org/drawingml/2006/table">
            <a:tbl>
              <a:tblPr/>
              <a:tblGrid>
                <a:gridCol w="5543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05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875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32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296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сходы на выплаты персоналу в целях обеспечения выполнения функций муниципальными органами, казенными учреждениями, органами управления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951,2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951,8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939,3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864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акупка товаров, работ и услуг для обеспечения государственных (муниципальных) нужд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49,3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326,8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95,2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иальное обеспечение и иные выплаты населению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37,0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45,3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45,5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864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апитальные вложения в объекты государственной (муниципальной) собственности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ежбюджетные трансферты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4864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едоставление субсидий бюджетным, автономным учреждениям и иным некоммерческим организациям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 005,28</a:t>
                      </a:r>
                      <a:endParaRPr kumimoji="0" lang="en-US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938,0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865,3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служивание муниципального долга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26676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ные бюджетные ассигнования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87,9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33,8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7,6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словно-утвержденные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36,9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75,0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1430"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 ИТОГО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 930,92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 732,90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 668,34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3552" name="TextBox 5"/>
          <p:cNvSpPr txBox="1">
            <a:spLocks noChangeArrowheads="1"/>
          </p:cNvSpPr>
          <p:nvPr/>
        </p:nvSpPr>
        <p:spPr bwMode="auto">
          <a:xfrm>
            <a:off x="10744200" y="1025525"/>
            <a:ext cx="1446213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>
                <a:latin typeface="Corbel" pitchFamily="34" charset="0"/>
              </a:rPr>
              <a:t>млн. руб.</a:t>
            </a: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69215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br>
              <a:rPr lang="ru-RU" altLang="ru-RU" sz="2400" dirty="0">
                <a:solidFill>
                  <a:schemeClr val="bg1"/>
                </a:solidFill>
              </a:rPr>
            </a:br>
            <a:r>
              <a:rPr lang="ru-RU" altLang="ru-RU" sz="2800" b="1" dirty="0">
                <a:solidFill>
                  <a:schemeClr val="bg1"/>
                </a:solidFill>
              </a:rPr>
              <a:t>Сведения о расходах бюджета в разрезе муниципальных программ</a:t>
            </a:r>
            <a:br>
              <a:rPr lang="ru-RU" altLang="ru-RU" sz="2400" dirty="0">
                <a:solidFill>
                  <a:schemeClr val="bg1"/>
                </a:solidFill>
              </a:rPr>
            </a:b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38073" name="Group 18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023484597"/>
              </p:ext>
            </p:extLst>
          </p:nvPr>
        </p:nvGraphicFramePr>
        <p:xfrm>
          <a:off x="118542" y="919681"/>
          <a:ext cx="11852275" cy="5594759"/>
        </p:xfrm>
        <a:graphic>
          <a:graphicData uri="http://schemas.openxmlformats.org/drawingml/2006/table">
            <a:tbl>
              <a:tblPr/>
              <a:tblGrid>
                <a:gridCol w="5975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4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230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535459">
                <a:tc rowSpan="2"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муниципальной программы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Отклонение 2025 к 2024 год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20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14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год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год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(+/-)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/>
                        </a:rPr>
                        <a:t>год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7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образования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439,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377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-61,7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95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306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 211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497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Сохранение и развитие культуры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89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6,8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47,2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24,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0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26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602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сельского хозяйства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6,5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-2,7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8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,8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602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Социальная поддержка граждан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21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7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-49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9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91,6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91,7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602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Молодежная политика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6,1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0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11,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,7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6024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физической культуры и спорта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8,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7,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-1,0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96,2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1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1,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3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транспортной системы и обеспечение безопасности дорожного движения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79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6,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27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34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0,6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2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13360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Безопасный городской округ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3,3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50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7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17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8,8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8,5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7488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Управление финансами"</a:t>
                      </a:r>
                      <a:endParaRPr kumimoji="0" lang="ru-RU" altLang="ru-RU" sz="14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4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,8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8,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,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60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Управление имуществом"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6,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8,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8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8,0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7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862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экономики"</a:t>
                      </a:r>
                      <a:endParaRPr kumimoji="0" lang="ru-RU" altLang="ru-RU" sz="14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2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3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,5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7,0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2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2,1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714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Развитие муниципальной службы"</a:t>
                      </a:r>
                      <a:endParaRPr kumimoji="0" lang="ru-RU" altLang="ru-RU" sz="14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8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0,0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3,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5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50838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"Профилактика правонарушений, терроризма, межнациональные отношения и поддержка казачества"</a:t>
                      </a:r>
                      <a:endParaRPr kumimoji="0" lang="ru-RU" altLang="ru-RU" sz="14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0,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10,5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15900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«Развитие жилищно-коммунального хозяйства»</a:t>
                      </a:r>
                      <a:endParaRPr kumimoji="0" lang="ru-RU" altLang="ru-RU" sz="1400" b="0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54,1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87,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33,3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21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49,8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42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15900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П «Формирование современной городской среды»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5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FF0000"/>
                          </a:solidFill>
                          <a:effectLst/>
                          <a:latin typeface="Times New Roman"/>
                        </a:rPr>
                        <a:t>-0,0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85,1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8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МП «Создание условий для обеспечения доступным и комфортным жильем граждан Изобильненского городского округа Ставропольского края»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4,6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2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2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68,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0,1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333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Непрограммные расходы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63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78,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14,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3,9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19,6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20,9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60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ловно-утвержденные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0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36,9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75,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6063">
                <a:tc>
                  <a:txBody>
                    <a:bodyPr/>
                    <a:lstStyle>
                      <a:lvl1pPr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ИТОГО</a:t>
                      </a:r>
                    </a:p>
                  </a:txBody>
                  <a:tcPr marL="0" marR="0" marT="0" marB="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902,4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930,9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B050"/>
                          </a:solidFill>
                          <a:effectLst/>
                          <a:latin typeface="Times New Roman"/>
                        </a:rPr>
                        <a:t>28,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100,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732,9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Times New Roman"/>
                        </a:rPr>
                        <a:t>2 668,3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65727" name="TextBox 4"/>
          <p:cNvSpPr txBox="1">
            <a:spLocks noChangeArrowheads="1"/>
          </p:cNvSpPr>
          <p:nvPr/>
        </p:nvSpPr>
        <p:spPr bwMode="auto">
          <a:xfrm>
            <a:off x="10911060" y="553732"/>
            <a:ext cx="1447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>
                <a:latin typeface="Corbel" pitchFamily="34" charset="0"/>
              </a:rPr>
              <a:t>млн. руб.</a:t>
            </a: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*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2779" name="Group 3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3247315"/>
              </p:ext>
            </p:extLst>
          </p:nvPr>
        </p:nvGraphicFramePr>
        <p:xfrm>
          <a:off x="7938" y="981074"/>
          <a:ext cx="12227214" cy="5174481"/>
        </p:xfrm>
        <a:graphic>
          <a:graphicData uri="http://schemas.openxmlformats.org/drawingml/2006/table">
            <a:tbl>
              <a:tblPr/>
              <a:tblGrid>
                <a:gridCol w="67074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2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59694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образования»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386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57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51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ровень удовлетворенности населения качеством общего образования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3,30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3,50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3,80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4,10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4,20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1630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общеобразовательных организаций, в которых проводятся мероприятия, предусмотренные региональным проектом «Модернизация школьных систем образования»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-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-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8585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исло лиц, занимающихся по дополнительным образовательным программам спортивной подготовки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чел.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6189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введенных ставок советников директоров по воспитанию и взаимодействию  с детскими объединениями, деятельность которых обеспечена в общеобразовательных  организациях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6906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культуры»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634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участников культурно-досуговых формирований в учреждениях культурно досугового типа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ел.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14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1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16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17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18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198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годное обновление материально-технической базы учреждений культуры</a:t>
                      </a:r>
                    </a:p>
                  </a:txBody>
                  <a:tcPr marT="45699" marB="45699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634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учащихся  учреждений дополнительного образования в сфере культуры, поступивших в профильные ВУЗы, Сузы от количества выпускников</a:t>
                      </a:r>
                    </a:p>
                  </a:txBody>
                  <a:tcPr marT="45699" marB="4569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4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4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5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6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7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3583" name="Group 15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203852"/>
              </p:ext>
            </p:extLst>
          </p:nvPr>
        </p:nvGraphicFramePr>
        <p:xfrm>
          <a:off x="17463" y="836613"/>
          <a:ext cx="12190413" cy="5982259"/>
        </p:xfrm>
        <a:graphic>
          <a:graphicData uri="http://schemas.openxmlformats.org/drawingml/2006/table">
            <a:tbl>
              <a:tblPr/>
              <a:tblGrid>
                <a:gridCol w="6670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2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303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сельского хозяйства»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4849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T="45727" marB="4572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01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51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ндекс производства продукции сельского хозяйства в хозяйстве всех категорий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2,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2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1,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625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изводство овощей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т</a:t>
                      </a:r>
                      <a:endParaRPr kumimoji="0" lang="ru-RU" altLang="ru-RU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2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2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2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3,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3,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397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исленность поголовья крупного рогатого скота в хозяйствах малых форм собственности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 голов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,7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,8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,8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,8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,8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430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изводство молока в хозяйствах всех категорий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т</a:t>
                      </a:r>
                      <a:endParaRPr kumimoji="0" lang="ru-RU" altLang="ru-RU" sz="13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7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2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2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2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96303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Социальная поддержка граждан»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889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граждан, которым предоставлены меры </a:t>
                      </a:r>
                      <a:r>
                        <a:rPr kumimoji="0" lang="ru-RU" altLang="ru-RU" sz="1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.поддержки</a:t>
                      </a: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, в общей численности граждан, обратившихся и имеющих право на их получение в соответствии с законодательством РФ и СК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3159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членов семей военнослужащего, добровольца, мобилизованного гражданина погибшего или умершего вследствие увечья, полученного при выполнении задач в ходе СВО от общего числа членов  семей заявленных и имеющих право на получение дополнительных социальных гарантий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1229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Молодежная политика»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559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3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мероприятий , направленных на формирование здорового образа жизни</a:t>
                      </a: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-во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5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6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7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8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4142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мероприятий по профилактике правонарушений и преступлений, совершаемых </a:t>
                      </a:r>
                      <a:r>
                        <a:rPr kumimoji="0" lang="ru-RU" alt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есовершенолетними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27" marB="4572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</a:t>
                      </a:r>
                    </a:p>
                  </a:txBody>
                  <a:tcPr marT="45727" marB="4572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41059" name="Group 9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4847842"/>
              </p:ext>
            </p:extLst>
          </p:nvPr>
        </p:nvGraphicFramePr>
        <p:xfrm>
          <a:off x="0" y="928688"/>
          <a:ext cx="12190413" cy="5744974"/>
        </p:xfrm>
        <a:graphic>
          <a:graphicData uri="http://schemas.openxmlformats.org/drawingml/2006/table">
            <a:tbl>
              <a:tblPr/>
              <a:tblGrid>
                <a:gridCol w="6670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2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924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физической культуры и спорта»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303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T="45717" marB="4571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8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20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спортсменов округа принимающих участие в всероссийских, международных и краевых соревнованиях в общем количестве спортсменов округа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3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3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3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4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4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578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 призовых мест, занятых спортсменами на официальных всероссийских, международных и краевых спортивных соревнованиях 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2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4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8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отремонтированных объектов спорта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1761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транспортной системы и обеспечение безопасности дорожного движения»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91802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местных автомобильных дорог, соответствующих нормативным требованиям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7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7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8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9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4140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величение протяженности автомобильных дорог, отвечающим нормативным требованиям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м.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16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16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2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26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32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1213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Безопасный городской округ»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628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исло жителей, прошедших подготовку в области гражданской обороны и защиты от ЧС природного и техногенного характера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ел.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0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1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2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2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3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4140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систем видеонаблюдения в образовательных учреждениях городского округа</a:t>
                      </a:r>
                    </a:p>
                  </a:txBody>
                  <a:tcPr marT="45717" marB="4571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8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9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9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00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05</a:t>
                      </a:r>
                    </a:p>
                  </a:txBody>
                  <a:tcPr marT="45717" marB="4571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42079" name="Group 9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122226"/>
              </p:ext>
            </p:extLst>
          </p:nvPr>
        </p:nvGraphicFramePr>
        <p:xfrm>
          <a:off x="0" y="928688"/>
          <a:ext cx="12190413" cy="5771511"/>
        </p:xfrm>
        <a:graphic>
          <a:graphicData uri="http://schemas.openxmlformats.org/drawingml/2006/table">
            <a:tbl>
              <a:tblPr/>
              <a:tblGrid>
                <a:gridCol w="66706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06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26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829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Управление финансами»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41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T="45715" marB="4571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T="45715" marB="45715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7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05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цент исполнения бюджета по расходам к принятым плановым назначениям по расходам бюджета 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,0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,0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,0</a:t>
                      </a:r>
                      <a:endParaRPr kumimoji="0" lang="ru-RU" altLang="ru-RU" sz="1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96362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цент исполнения бюджета по доходам к принятому плану поступлений доходов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-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-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7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9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829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Управление имуществом»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0000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действующих договоров аренды недвижимого имущества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467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547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617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677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724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952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контролей по проверке сохранности и использования по назначению муниципального имущества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66671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экономики»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810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ровень удовлетворенности населения качеством предоставления государственных и муниципальных услуг (на основе анкетирования)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,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,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,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,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8,8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3911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величение числа субъектов малого и среднего предпринимательства в расчете на 10 тыс. человек населения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7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9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9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9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9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41275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товаропроизводителей, участвующих при проведении ярморочных мероприятий</a:t>
                      </a:r>
                    </a:p>
                  </a:txBody>
                  <a:tcPr marT="45715" marB="45715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1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3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5,0</a:t>
                      </a:r>
                    </a:p>
                  </a:txBody>
                  <a:tcPr marT="45715" marB="45715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6594" name="Group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1481523"/>
              </p:ext>
            </p:extLst>
          </p:nvPr>
        </p:nvGraphicFramePr>
        <p:xfrm>
          <a:off x="71438" y="1077913"/>
          <a:ext cx="12072937" cy="5735463"/>
        </p:xfrm>
        <a:graphic>
          <a:graphicData uri="http://schemas.openxmlformats.org/drawingml/2006/table">
            <a:tbl>
              <a:tblPr/>
              <a:tblGrid>
                <a:gridCol w="66063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145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83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83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759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2759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319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6240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муниципальной службы»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5280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L="91448" marR="9144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L="91448" marR="914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L="91448" marR="914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96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осещаемость официального Портала органов местного самоуправления пользователями сети Интернет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ел.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20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30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4 40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50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4 60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816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вопросов, рассмотренных на заседании координационного совета по противодействию коррупции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6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8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9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01040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Профилактик правонарушений, терроризма, межнациональные отношения и поддержка казачества»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16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обучающихся в образовательных организациях, осуществляющих образовательный процесс с использованием культурно-исторических традиций казачества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ел.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7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4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3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4133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Удельный вес  </a:t>
                      </a:r>
                      <a:r>
                        <a:rPr kumimoji="0" lang="ru-RU" altLang="ru-RU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ркопреступлений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в общем количестве преступлений 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3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2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,9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66725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Развитие жилищно-коммунального хозяйства»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624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обустроенных детских площадок в рамках регионального проекта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116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ликвидированных несанкционированных свалок в границах округа</a:t>
                      </a:r>
                    </a:p>
                  </a:txBody>
                  <a:tcPr marL="91448" marR="9144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48" marR="914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8366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chemeClr val="bg1"/>
                </a:solidFill>
              </a:rPr>
              <a:t>Информация о расходах бюджета в разрезе муниципальных программ с данными о достигнутых и планируемых целевых показателях программ</a:t>
            </a:r>
            <a:endParaRPr lang="ru-RU" alt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7622" name="Group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4359449"/>
              </p:ext>
            </p:extLst>
          </p:nvPr>
        </p:nvGraphicFramePr>
        <p:xfrm>
          <a:off x="71438" y="981075"/>
          <a:ext cx="12118975" cy="2531471"/>
        </p:xfrm>
        <a:graphic>
          <a:graphicData uri="http://schemas.openxmlformats.org/drawingml/2006/table">
            <a:tbl>
              <a:tblPr/>
              <a:tblGrid>
                <a:gridCol w="64636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118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21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21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113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11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7690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7780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Формирование современной городской среды»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583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индикатора достижения цели</a:t>
                      </a:r>
                    </a:p>
                  </a:txBody>
                  <a:tcPr marL="91444" marR="91444" marT="45707" marB="45707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. измерения</a:t>
                      </a:r>
                    </a:p>
                  </a:txBody>
                  <a:tcPr marL="91444" marR="91444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5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Значение индикатора</a:t>
                      </a:r>
                    </a:p>
                  </a:txBody>
                  <a:tcPr marL="91444" marR="91444" marT="45707" marB="457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63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2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3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T="45699" marB="4569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922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благоустроенных общественных территорий в общем количестве общественных территорий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,1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,3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,4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,9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5,4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6182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 населенных пунктов, реализующих мероприятия по благоустройству дворовых территорий и общественных территорий с трудовым участием граждан и организаций 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шт.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4808" name="TextBox 1"/>
          <p:cNvSpPr txBox="1">
            <a:spLocks noChangeArrowheads="1"/>
          </p:cNvSpPr>
          <p:nvPr/>
        </p:nvSpPr>
        <p:spPr bwMode="auto">
          <a:xfrm>
            <a:off x="165100" y="5509468"/>
            <a:ext cx="12025313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2000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данных слайдах представлены неполные сведения о количестве индикаторов достижения цели. Полная информация о муниципальных программах  размещена на официальном сайте администрации Изобильненского городского округа Ставропольского края по адресу  http://www.izobadmin.ru/taxonomy/term/345</a:t>
            </a:r>
          </a:p>
          <a:p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0656993"/>
              </p:ext>
            </p:extLst>
          </p:nvPr>
        </p:nvGraphicFramePr>
        <p:xfrm>
          <a:off x="24904" y="3573016"/>
          <a:ext cx="12165509" cy="1952681"/>
        </p:xfrm>
        <a:graphic>
          <a:graphicData uri="http://schemas.openxmlformats.org/drawingml/2006/table">
            <a:tbl>
              <a:tblPr/>
              <a:tblGrid>
                <a:gridCol w="6657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3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60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60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47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47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806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97780">
                <a:tc gridSpan="7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униципальная программа «Создание условий для обеспечения доступным и комфортным жильем граждан Изобильненского городского округа Ставропольского края»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017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ля молодых семей, улучивших жилищные условия, от общего количества молодых семей, получивших свидетельства о праве на получение соц. выплаты на приобретение жилого помещения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%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,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173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ичество граждан, расселенных из непригодного для проживания жилищного фонда</a:t>
                      </a:r>
                    </a:p>
                  </a:txBody>
                  <a:tcPr marL="91444" marR="91444" marT="45707" marB="45707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чел.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</a:t>
                      </a:r>
                    </a:p>
                  </a:txBody>
                  <a:tcPr marL="91444" marR="91444" marT="45707" marB="45707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99392"/>
            <a:ext cx="12190413" cy="1143000"/>
          </a:xfrm>
          <a:solidFill>
            <a:schemeClr val="tx1">
              <a:lumMod val="65000"/>
              <a:lumOff val="35000"/>
            </a:schemeClr>
          </a:solidFill>
        </p:spPr>
        <p:txBody>
          <a:bodyPr>
            <a:noAutofit/>
          </a:bodyPr>
          <a:lstStyle/>
          <a:p>
            <a:pPr>
              <a:tabLst>
                <a:tab pos="4190581" algn="l"/>
              </a:tabLst>
            </a:pPr>
            <a:r>
              <a:rPr lang="ru-RU" sz="4800" b="1" dirty="0">
                <a:solidFill>
                  <a:schemeClr val="bg1"/>
                </a:solidFill>
              </a:rPr>
              <a:t>Национальные проекты в 2025 году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481829" y="908720"/>
            <a:ext cx="2301328" cy="50405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>
              <a:lnSpc>
                <a:spcPts val="2400"/>
              </a:lnSpc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Национальные проек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783157" y="911440"/>
            <a:ext cx="2497267" cy="50405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>
              <a:lnSpc>
                <a:spcPts val="2400"/>
              </a:lnSpc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Кол-во рег.  проектов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0503251" y="908720"/>
            <a:ext cx="1630654" cy="50405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>
              <a:lnSpc>
                <a:spcPts val="2400"/>
              </a:lnSpc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Сумма,</a:t>
            </a:r>
          </a:p>
          <a:p>
            <a:pPr>
              <a:lnSpc>
                <a:spcPts val="2400"/>
              </a:lnSpc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млн. руб.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574926" y="1700808"/>
            <a:ext cx="8472167" cy="2016224"/>
          </a:xfrm>
          <a:prstGeom prst="roundRect">
            <a:avLst/>
          </a:prstGeom>
          <a:noFill/>
          <a:ln w="57150">
            <a:solidFill>
              <a:srgbClr val="660066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3761655" y="1849172"/>
            <a:ext cx="2710379" cy="954095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700" b="1" dirty="0">
                <a:solidFill>
                  <a:schemeClr val="accent4">
                    <a:lumMod val="75000"/>
                  </a:schemeClr>
                </a:solidFill>
              </a:rPr>
              <a:t>Человеческий капитал</a:t>
            </a:r>
          </a:p>
        </p:txBody>
      </p:sp>
      <p:sp>
        <p:nvSpPr>
          <p:cNvPr id="49" name="Скругленный прямоугольник 48"/>
          <p:cNvSpPr/>
          <p:nvPr>
            <p:custDataLst>
              <p:tags r:id="rId1"/>
            </p:custDataLst>
          </p:nvPr>
        </p:nvSpPr>
        <p:spPr>
          <a:xfrm>
            <a:off x="3973747" y="2878488"/>
            <a:ext cx="2138983" cy="684076"/>
          </a:xfrm>
          <a:prstGeom prst="roundRect">
            <a:avLst>
              <a:gd name="adj" fmla="val 34517"/>
            </a:avLst>
          </a:prstGeom>
          <a:solidFill>
            <a:schemeClr val="accent4">
              <a:lumMod val="75000"/>
            </a:schemeClr>
          </a:solidFill>
          <a:ln w="635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287971" rIns="121908" bIns="60954" rtlCol="0" anchor="ctr" anchorCtr="0"/>
          <a:lstStyle/>
          <a:p>
            <a:pPr algn="ctr">
              <a:lnSpc>
                <a:spcPts val="4400"/>
              </a:lnSpc>
            </a:pPr>
            <a:endParaRPr lang="ru-RU" sz="8000" b="1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048" name="TextBox 2047"/>
          <p:cNvSpPr txBox="1"/>
          <p:nvPr/>
        </p:nvSpPr>
        <p:spPr>
          <a:xfrm>
            <a:off x="6383238" y="1700809"/>
            <a:ext cx="5471858" cy="2385256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700" b="1" dirty="0">
                <a:solidFill>
                  <a:srgbClr val="660066"/>
                </a:solidFill>
              </a:rPr>
              <a:t>«Семья»           1       32,8</a:t>
            </a:r>
          </a:p>
          <a:p>
            <a:pPr>
              <a:lnSpc>
                <a:spcPct val="150000"/>
              </a:lnSpc>
            </a:pPr>
            <a:endParaRPr lang="en-US" b="1" dirty="0">
              <a:solidFill>
                <a:srgbClr val="660066"/>
              </a:solidFill>
            </a:endParaRPr>
          </a:p>
          <a:p>
            <a:pPr>
              <a:lnSpc>
                <a:spcPct val="150000"/>
              </a:lnSpc>
            </a:pPr>
            <a:r>
              <a:rPr lang="ru-RU" sz="2700" b="1" dirty="0">
                <a:solidFill>
                  <a:srgbClr val="660066"/>
                </a:solidFill>
              </a:rPr>
              <a:t>«Образование»   2      103,3</a:t>
            </a:r>
          </a:p>
          <a:p>
            <a:endParaRPr lang="ru-RU" b="1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ru-RU" b="1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2049" name="TextBox 2048"/>
          <p:cNvSpPr txBox="1"/>
          <p:nvPr/>
        </p:nvSpPr>
        <p:spPr>
          <a:xfrm>
            <a:off x="4319221" y="2849028"/>
            <a:ext cx="1631969" cy="69762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3700" b="1" dirty="0">
                <a:solidFill>
                  <a:schemeClr val="bg1"/>
                </a:solidFill>
              </a:rPr>
              <a:t>136,1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840066" y="5525652"/>
            <a:ext cx="1631969" cy="69762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3700" b="1" dirty="0">
                <a:solidFill>
                  <a:schemeClr val="bg1"/>
                </a:solidFill>
              </a:rPr>
              <a:t>270,8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"/>
            </p:custDataLst>
          </p:nvPr>
        </p:nvSpPr>
        <p:spPr>
          <a:xfrm>
            <a:off x="308293" y="4293099"/>
            <a:ext cx="3846918" cy="837920"/>
          </a:xfrm>
          <a:prstGeom prst="roundRect">
            <a:avLst>
              <a:gd name="adj" fmla="val 34517"/>
            </a:avLst>
          </a:prstGeom>
          <a:solidFill>
            <a:schemeClr val="accent5">
              <a:lumMod val="75000"/>
            </a:schemeClr>
          </a:solidFill>
          <a:ln w="635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287971" rIns="121908" bIns="60954" rtlCol="0" anchor="ctr" anchorCtr="0"/>
          <a:lstStyle/>
          <a:p>
            <a:pPr algn="ctr">
              <a:lnSpc>
                <a:spcPts val="4400"/>
              </a:lnSpc>
            </a:pPr>
            <a:endParaRPr lang="ru-RU" sz="8000" b="1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79314" y="4293097"/>
            <a:ext cx="3675897" cy="677096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Федеральный и краевой бюджет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3"/>
            </p:custDataLst>
          </p:nvPr>
        </p:nvSpPr>
        <p:spPr>
          <a:xfrm>
            <a:off x="369803" y="5481228"/>
            <a:ext cx="3785407" cy="894451"/>
          </a:xfrm>
          <a:prstGeom prst="roundRect">
            <a:avLst>
              <a:gd name="adj" fmla="val 34517"/>
            </a:avLst>
          </a:prstGeom>
          <a:solidFill>
            <a:schemeClr val="accent6">
              <a:lumMod val="75000"/>
            </a:schemeClr>
          </a:solidFill>
          <a:ln w="635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287971" rIns="121908" bIns="60954" rtlCol="0" anchor="ctr" anchorCtr="0"/>
          <a:lstStyle/>
          <a:p>
            <a:pPr algn="ctr">
              <a:lnSpc>
                <a:spcPts val="4400"/>
              </a:lnSpc>
            </a:pPr>
            <a:endParaRPr lang="ru-RU" sz="8000" b="1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61801" y="5447546"/>
            <a:ext cx="3339903" cy="677096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Местный бюджет</a:t>
            </a:r>
          </a:p>
          <a:p>
            <a:r>
              <a:rPr lang="ru-RU" b="1" dirty="0">
                <a:solidFill>
                  <a:schemeClr val="bg1"/>
                </a:solidFill>
              </a:rPr>
              <a:t>(софинансирование)</a:t>
            </a:r>
          </a:p>
        </p:txBody>
      </p:sp>
      <p:graphicFrame>
        <p:nvGraphicFramePr>
          <p:cNvPr id="2057" name="Диаграмма 2056"/>
          <p:cNvGraphicFramePr/>
          <p:nvPr>
            <p:extLst>
              <p:ext uri="{D42A27DB-BD31-4B8C-83A1-F6EECF244321}">
                <p14:modId xmlns:p14="http://schemas.microsoft.com/office/powerpoint/2010/main" val="389965915"/>
              </p:ext>
            </p:extLst>
          </p:nvPr>
        </p:nvGraphicFramePr>
        <p:xfrm>
          <a:off x="-27621" y="989147"/>
          <a:ext cx="4106603" cy="29439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058" name="TextBox 2057"/>
          <p:cNvSpPr txBox="1"/>
          <p:nvPr/>
        </p:nvSpPr>
        <p:spPr>
          <a:xfrm>
            <a:off x="1385933" y="2157172"/>
            <a:ext cx="1391973" cy="553986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136,6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385933" y="2924944"/>
            <a:ext cx="1631969" cy="53859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700" b="1" dirty="0">
                <a:solidFill>
                  <a:schemeClr val="bg1"/>
                </a:solidFill>
              </a:rPr>
              <a:t>135,4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841739" y="1289913"/>
            <a:ext cx="980014" cy="430875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2000" b="1" dirty="0"/>
              <a:t>1,2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4466458" y="4712059"/>
            <a:ext cx="7580636" cy="1885293"/>
          </a:xfrm>
          <a:prstGeom prst="roundRect">
            <a:avLst/>
          </a:prstGeom>
          <a:noFill/>
          <a:ln w="57150">
            <a:solidFill>
              <a:srgbClr val="0066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60954" rIns="121908" bIns="60954"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4688066" y="4776584"/>
            <a:ext cx="2338196" cy="956672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pPr>
              <a:lnSpc>
                <a:spcPts val="2133"/>
              </a:lnSpc>
            </a:pPr>
            <a:r>
              <a:rPr lang="ru-RU" sz="27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омфортная среда для жизни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808604" y="4977842"/>
            <a:ext cx="5325301" cy="1411143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pPr>
              <a:lnSpc>
                <a:spcPct val="90000"/>
              </a:lnSpc>
            </a:pPr>
            <a:endParaRPr lang="ru-RU" b="1" dirty="0">
              <a:solidFill>
                <a:srgbClr val="003300"/>
              </a:solidFill>
            </a:endParaRPr>
          </a:p>
          <a:p>
            <a:pPr>
              <a:lnSpc>
                <a:spcPts val="2666"/>
              </a:lnSpc>
            </a:pPr>
            <a:r>
              <a:rPr lang="ru-RU" sz="2700" b="1" dirty="0">
                <a:solidFill>
                  <a:srgbClr val="003300"/>
                </a:solidFill>
              </a:rPr>
              <a:t> «Жилье и </a:t>
            </a:r>
          </a:p>
          <a:p>
            <a:pPr>
              <a:lnSpc>
                <a:spcPts val="2666"/>
              </a:lnSpc>
            </a:pPr>
            <a:r>
              <a:rPr lang="ru-RU" sz="2700" b="1" dirty="0">
                <a:solidFill>
                  <a:srgbClr val="003300"/>
                </a:solidFill>
              </a:rPr>
              <a:t> городская </a:t>
            </a:r>
            <a:endParaRPr lang="en-US" sz="2700" b="1" dirty="0">
              <a:solidFill>
                <a:srgbClr val="003300"/>
              </a:solidFill>
            </a:endParaRPr>
          </a:p>
          <a:p>
            <a:pPr>
              <a:lnSpc>
                <a:spcPts val="2666"/>
              </a:lnSpc>
            </a:pPr>
            <a:r>
              <a:rPr lang="ru-RU" sz="2700" b="1" dirty="0">
                <a:solidFill>
                  <a:srgbClr val="003300"/>
                </a:solidFill>
              </a:rPr>
              <a:t>  среда»        1         0,</a:t>
            </a:r>
            <a:r>
              <a:rPr lang="en-US" sz="2700" b="1" dirty="0">
                <a:solidFill>
                  <a:srgbClr val="003300"/>
                </a:solidFill>
              </a:rPr>
              <a:t>5</a:t>
            </a:r>
            <a:endParaRPr lang="ru-RU" sz="2700" b="1" dirty="0">
              <a:solidFill>
                <a:srgbClr val="0033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043239" y="5678052"/>
            <a:ext cx="1631969" cy="69762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ru-RU" sz="3700" b="1" dirty="0">
                <a:solidFill>
                  <a:schemeClr val="bg1"/>
                </a:solidFill>
              </a:rPr>
              <a:t>285,2</a:t>
            </a:r>
          </a:p>
        </p:txBody>
      </p:sp>
      <p:sp>
        <p:nvSpPr>
          <p:cNvPr id="34" name="Скругленный прямоугольник 33"/>
          <p:cNvSpPr/>
          <p:nvPr>
            <p:custDataLst>
              <p:tags r:id="rId4"/>
            </p:custDataLst>
          </p:nvPr>
        </p:nvSpPr>
        <p:spPr>
          <a:xfrm>
            <a:off x="4688066" y="5652452"/>
            <a:ext cx="1923976" cy="530865"/>
          </a:xfrm>
          <a:prstGeom prst="roundRect">
            <a:avLst>
              <a:gd name="adj" fmla="val 34517"/>
            </a:avLst>
          </a:prstGeom>
          <a:solidFill>
            <a:srgbClr val="006600"/>
          </a:solidFill>
          <a:ln w="6350"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8" tIns="287971" rIns="121908" bIns="60954" rtlCol="0" anchor="ctr" anchorCtr="0"/>
          <a:lstStyle/>
          <a:p>
            <a:pPr algn="ctr">
              <a:lnSpc>
                <a:spcPts val="4400"/>
              </a:lnSpc>
            </a:pPr>
            <a:endParaRPr lang="ru-RU" sz="8000" b="1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925364" y="5594434"/>
            <a:ext cx="1631969" cy="697627"/>
          </a:xfrm>
          <a:prstGeom prst="rect">
            <a:avLst/>
          </a:prstGeom>
          <a:noFill/>
        </p:spPr>
        <p:txBody>
          <a:bodyPr wrap="square" lIns="121908" tIns="60954" rIns="121908" bIns="60954" rtlCol="0">
            <a:spAutoFit/>
          </a:bodyPr>
          <a:lstStyle/>
          <a:p>
            <a:r>
              <a:rPr lang="en-US" sz="3700" b="1" dirty="0">
                <a:solidFill>
                  <a:schemeClr val="bg1"/>
                </a:solidFill>
              </a:rPr>
              <a:t>0,5</a:t>
            </a:r>
            <a:endParaRPr lang="ru-RU" sz="37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703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95275" y="476250"/>
            <a:ext cx="11809413" cy="63404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ые ассигнования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редельные объемы денежных средств, предусмотренных в соответствующем финансовом году для исполнения бюджетных обязательств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ые инвестиции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бюджетные средства, направляемые на создание или увеличение за счет средств бюджета стоимости государственного (муниципального) имуществ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ые обязательств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 расходные обязательства, подлежащие исполнению в соответствующем финансовом году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ый кредит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денежные средства, предоставляемые бюджетом другому бюджету бюджетной системы Российской Федерации, юридическому лицу (за исключением государственных (муниципальных) учреждений), иностранному государству, иностранному юридическому лицу на возвратной и возмездной основах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Бюджетный процесс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регламентируемая законодательством Российской Федерации деятельность органов государственной власти, органов местного самоуправления и иных участников бюджетного процесса по составлению и рассмотрению проектов бюджетов, утверждению и исполнению бюджетов, контролю за их исполнением, осуществлению бюджетного учета, составлению, внешней проверке, рассмотрению и утверждению бюджетной отчетности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Ведомственная структура расходов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распределение бюджетных ассигнований, предусмотренных законом (решением) о бюджете на соответствующий финансовый год главным распорядителям бюджетных средств, по разделам, подразделам, целевым статьям и видам расходов бюджетной классификации Российской Федерации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Временный кассовый разрыв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рогнозируемая в определенный период текущего финансового года недостаточность на едином счете бюджета денежных средств, необходимых для осуществления кассовых выплат из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Главный администратор доходов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пределенный законом (решением) о бюджете орган государственной власти (государственный орган), орган местного самоуправления, орган местной администрации, орган управления государственным внебюджетным фондом, Центральный банк Российской Федерации, иная организация, имеющие в своем ведении администраторов доходов бюджета и (или) являющиеся администраторами доходов бюджета, если иное не установлено Бюджетным кодексом.</a:t>
            </a:r>
          </a:p>
        </p:txBody>
      </p:sp>
      <p:sp>
        <p:nvSpPr>
          <p:cNvPr id="7" name="Rectangle 14"/>
          <p:cNvSpPr txBox="1">
            <a:spLocks noChangeArrowheads="1"/>
          </p:cNvSpPr>
          <p:nvPr/>
        </p:nvSpPr>
        <p:spPr>
          <a:xfrm>
            <a:off x="334963" y="-26988"/>
            <a:ext cx="11133137" cy="1008063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1438275" algn="l"/>
              </a:tabLst>
              <a:defRPr/>
            </a:pPr>
            <a:r>
              <a:rPr lang="ru-RU" altLang="ru-RU" sz="28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Lucida Console" pitchFamily="49" charset="0"/>
              </a:rPr>
              <a:t>ГЛОССАРИЙ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98" name="Rectangle 2"/>
          <p:cNvSpPr>
            <a:spLocks noGrp="1"/>
          </p:cNvSpPr>
          <p:nvPr>
            <p:ph type="title" sz="quarter"/>
          </p:nvPr>
        </p:nvSpPr>
        <p:spPr>
          <a:xfrm>
            <a:off x="0" y="44450"/>
            <a:ext cx="12190413" cy="86360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algn="ctr"/>
            <a:r>
              <a:rPr lang="ru-RU" altLang="ru-RU" sz="2800" b="1" dirty="0">
                <a:solidFill>
                  <a:schemeClr val="bg1"/>
                </a:solidFill>
              </a:rPr>
              <a:t>РАСХОДЫ   ОТРАСЛЕЙ   СОЦИАЛЬНО-КУЛЬТУРНОЙ   СФЕРЫ</a:t>
            </a:r>
          </a:p>
        </p:txBody>
      </p:sp>
      <p:graphicFrame>
        <p:nvGraphicFramePr>
          <p:cNvPr id="47197" name="Object 93"/>
          <p:cNvGraphicFramePr>
            <a:graphicFrameLocks noGrp="1" noChangeAspect="1"/>
          </p:cNvGraphicFramePr>
          <p:nvPr>
            <p:ph sz="quarter" idx="1"/>
          </p:nvPr>
        </p:nvGraphicFramePr>
        <p:xfrm>
          <a:off x="1674813" y="1600200"/>
          <a:ext cx="3278187" cy="21859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32" name="Диаграмма" r:id="rId3" imgW="8124800" imgH="5419789" progId="MSGraph.Chart.8">
                  <p:embed followColorScheme="full"/>
                </p:oleObj>
              </mc:Choice>
              <mc:Fallback>
                <p:oleObj name="Диаграмма" r:id="rId3" imgW="8124800" imgH="5419789" progId="MSGraph.Chart.8">
                  <p:embed followColorScheme="full"/>
                  <p:pic>
                    <p:nvPicPr>
                      <p:cNvPr id="0" name="Picture 93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4813" y="1600200"/>
                        <a:ext cx="3278187" cy="21859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Объект 5"/>
          <p:cNvGraphicFramePr>
            <a:graphicFrameLocks noGrp="1"/>
          </p:cNvGraphicFramePr>
          <p:nvPr>
            <p:ph sz="quarter" idx="2"/>
            <p:extLst>
              <p:ext uri="{D42A27DB-BD31-4B8C-83A1-F6EECF244321}">
                <p14:modId xmlns:p14="http://schemas.microsoft.com/office/powerpoint/2010/main" val="2717651599"/>
              </p:ext>
            </p:extLst>
          </p:nvPr>
        </p:nvGraphicFramePr>
        <p:xfrm>
          <a:off x="5426075" y="1203325"/>
          <a:ext cx="6738938" cy="527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Объект 11"/>
          <p:cNvSpPr>
            <a:spLocks noGrp="1"/>
          </p:cNvSpPr>
          <p:nvPr>
            <p:ph sz="quarter" idx="3"/>
          </p:nvPr>
        </p:nvSpPr>
        <p:spPr>
          <a:xfrm>
            <a:off x="190500" y="1989138"/>
            <a:ext cx="5040313" cy="4032250"/>
          </a:xfrm>
        </p:spPr>
        <p:txBody>
          <a:bodyPr>
            <a:normAutofit lnSpcReduction="10000"/>
          </a:bodyPr>
          <a:lstStyle/>
          <a:p>
            <a:pPr marL="0" indent="0" algn="just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На финансовое обеспечение отраслей социально-культурной сферы: социальная политика, образование, культура, физкультура и спорт предусмотрено:</a:t>
            </a:r>
          </a:p>
          <a:p>
            <a:pPr marL="0" indent="0" algn="just" fontAlgn="auto">
              <a:spcAft>
                <a:spcPts val="0"/>
              </a:spcAft>
              <a:buClr>
                <a:schemeClr val="accent3"/>
              </a:buClr>
              <a:buFont typeface="Georgia"/>
              <a:buNone/>
              <a:defRPr/>
            </a:pP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altLang="ru-RU" sz="16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4</a:t>
            </a:r>
            <a:r>
              <a:rPr lang="ru-RU" altLang="ru-RU" sz="16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год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 215,5 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ыс. руб. или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76,3%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т общего объема расходов;</a:t>
            </a: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altLang="ru-RU" sz="16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5</a:t>
            </a:r>
            <a:r>
              <a:rPr lang="ru-RU" altLang="ru-RU" sz="16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год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 191,4 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ыс. руб. или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74,8%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т общего объема расходов.</a:t>
            </a: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6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6</a:t>
            </a:r>
            <a:r>
              <a:rPr lang="ru-RU" altLang="ru-RU" sz="16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год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 115,9 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ыс. руб. или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77,4%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т общего объема расходов</a:t>
            </a: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altLang="ru-RU" sz="16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2027</a:t>
            </a:r>
            <a:r>
              <a:rPr lang="ru-RU" altLang="ru-RU" sz="16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год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–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 018,1 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тыс. руб. или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75,6%</a:t>
            </a:r>
            <a:r>
              <a:rPr lang="ru-RU" altLang="ru-RU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т общего объема расходов;</a:t>
            </a: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rgbClr val="002060"/>
              </a:solidFill>
            </a:endParaRPr>
          </a:p>
          <a:p>
            <a:pPr marL="365760" indent="-256032" algn="just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600" dirty="0">
              <a:solidFill>
                <a:srgbClr val="002060"/>
              </a:solidFill>
            </a:endParaRPr>
          </a:p>
          <a:p>
            <a:pPr marL="365760" indent="-256032" fontAlgn="auto"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dirty="0"/>
          </a:p>
        </p:txBody>
      </p:sp>
      <p:sp>
        <p:nvSpPr>
          <p:cNvPr id="47201" name="Rectangle 32"/>
          <p:cNvSpPr>
            <a:spLocks noChangeArrowheads="1"/>
          </p:cNvSpPr>
          <p:nvPr/>
        </p:nvSpPr>
        <p:spPr bwMode="auto">
          <a:xfrm>
            <a:off x="0" y="1898650"/>
            <a:ext cx="48244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	</a:t>
            </a:r>
            <a:endParaRPr lang="ru-RU" altLang="ru-RU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7202" name="TextBox 12"/>
          <p:cNvSpPr txBox="1">
            <a:spLocks noChangeArrowheads="1"/>
          </p:cNvSpPr>
          <p:nvPr/>
        </p:nvSpPr>
        <p:spPr bwMode="auto">
          <a:xfrm>
            <a:off x="573088" y="1155700"/>
            <a:ext cx="480218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ведения о расходах в </a:t>
            </a:r>
          </a:p>
          <a:p>
            <a:pPr algn="ctr"/>
            <a:r>
              <a:rPr lang="ru-RU" alt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оциально-культурной сфере</a:t>
            </a:r>
          </a:p>
          <a:p>
            <a:pPr algn="ctr"/>
            <a:endParaRPr lang="ru-RU" dirty="0">
              <a:solidFill>
                <a:schemeClr val="accent6">
                  <a:lumMod val="50000"/>
                </a:schemeClr>
              </a:solidFill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196752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3000" dirty="0">
                <a:solidFill>
                  <a:schemeClr val="accent3"/>
                </a:solidFill>
              </a:rPr>
              <a:t>Структура расходов бюджета по социальной политике Изобильненского муниципального округа</a:t>
            </a:r>
          </a:p>
        </p:txBody>
      </p:sp>
      <p:graphicFrame>
        <p:nvGraphicFramePr>
          <p:cNvPr id="26676" name="Group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5137224"/>
              </p:ext>
            </p:extLst>
          </p:nvPr>
        </p:nvGraphicFramePr>
        <p:xfrm>
          <a:off x="190500" y="2060575"/>
          <a:ext cx="11809413" cy="4321176"/>
        </p:xfrm>
        <a:graphic>
          <a:graphicData uri="http://schemas.openxmlformats.org/drawingml/2006/table">
            <a:tbl>
              <a:tblPr/>
              <a:tblGrid>
                <a:gridCol w="2740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2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5737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653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9700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86836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T="45728" marB="4572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дел, подраздел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    план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    план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 прогноз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 прогноз</a:t>
                      </a:r>
                    </a:p>
                  </a:txBody>
                  <a:tcPr marT="45728" marB="4572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311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иальная политика, всего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523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b="1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482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89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90,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3188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иальное обеспечение населения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0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4,2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1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4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09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311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храна семьи и детства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0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7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3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8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3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7470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ругие вопросы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 0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7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7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7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9918" name="Text Box 116"/>
          <p:cNvSpPr txBox="1">
            <a:spLocks noChangeArrowheads="1"/>
          </p:cNvSpPr>
          <p:nvPr/>
        </p:nvSpPr>
        <p:spPr bwMode="auto">
          <a:xfrm>
            <a:off x="10560050" y="1557338"/>
            <a:ext cx="117316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млн. руб.</a:t>
            </a: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744" name="Group 96"/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1055058284"/>
              </p:ext>
            </p:extLst>
          </p:nvPr>
        </p:nvGraphicFramePr>
        <p:xfrm>
          <a:off x="261938" y="1268413"/>
          <a:ext cx="11809412" cy="5040907"/>
        </p:xfrm>
        <a:graphic>
          <a:graphicData uri="http://schemas.openxmlformats.org/drawingml/2006/table">
            <a:tbl>
              <a:tblPr/>
              <a:tblGrid>
                <a:gridCol w="4392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1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3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5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652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03236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мер выплат (норматив),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68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тыс.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тыс.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тыс.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23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очетный донор России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 423,58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582,9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726,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726,2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513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плата жилищно-коммунальных услуг отдел. категориям граждан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248,1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 25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7 709,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 25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 640,8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 25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 640,8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6672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Выплата ежегодного соц. пособия на проезд учащимся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608,1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70,6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84,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91,9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0455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мпенсация оплаты взноса на кап. ремонт в многоквартирном доме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01,2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256,7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264,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817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264,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9476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еспечение мерами социальной  поддержки ветеранов труда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972,6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798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7 138,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534    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0 823,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365        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56 769,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204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еспечение мерами социальной поддержки ветеранов труда СК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1 972,6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19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2 277,4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88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9 203,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 759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6 228,6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«Дети войны»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7 717,33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412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5 390,2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3 052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4 564,5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2 692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2 533,7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п. компенсация  расходов  на оплату  жилых помещений и  коммунальных  услуг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4 315,2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2,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2,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232,0</a:t>
                      </a:r>
                    </a:p>
                  </a:txBody>
                  <a:tcPr marL="0" marR="108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80993" name="Text Box 89"/>
          <p:cNvSpPr txBox="1">
            <a:spLocks noChangeArrowheads="1"/>
          </p:cNvSpPr>
          <p:nvPr/>
        </p:nvSpPr>
        <p:spPr bwMode="auto">
          <a:xfrm>
            <a:off x="0" y="0"/>
            <a:ext cx="12190413" cy="83099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2400" dirty="0">
                <a:solidFill>
                  <a:schemeClr val="accent3"/>
                </a:solidFill>
                <a:latin typeface="Arial" charset="0"/>
              </a:rPr>
              <a:t>СОЦИАЛЬНАЯ ПОЛИТИКА ИЗОБИЛЬНЕНСКОГО МУНИЦИПАЛЬНОГО ОКРУГА </a:t>
            </a:r>
          </a:p>
          <a:p>
            <a:pPr algn="ctr"/>
            <a:r>
              <a:rPr lang="ru-RU" altLang="ru-RU" sz="2400" dirty="0">
                <a:solidFill>
                  <a:schemeClr val="accent3"/>
                </a:solidFill>
                <a:latin typeface="Arial" charset="0"/>
              </a:rPr>
              <a:t>С УЧЕТОМ ИНТЕРЕСОВ  ЦЕЛЕВЫХ ГРУПП</a:t>
            </a: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2469" name="Group 149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96460936"/>
              </p:ext>
            </p:extLst>
          </p:nvPr>
        </p:nvGraphicFramePr>
        <p:xfrm>
          <a:off x="119063" y="908050"/>
          <a:ext cx="11952288" cy="1152128"/>
        </p:xfrm>
        <a:graphic>
          <a:graphicData uri="http://schemas.openxmlformats.org/drawingml/2006/table">
            <a:tbl>
              <a:tblPr/>
              <a:tblGrid>
                <a:gridCol w="44645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34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66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09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51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216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508000">
                <a:tc rowSpan="2"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мер выплат (норматив),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уб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41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algn="l" defTabSz="45720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defTabSz="457200" fontAlgn="base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59495" name="Group 103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587044256"/>
              </p:ext>
            </p:extLst>
          </p:nvPr>
        </p:nvGraphicFramePr>
        <p:xfrm>
          <a:off x="119063" y="2060575"/>
          <a:ext cx="11952288" cy="4465675"/>
        </p:xfrm>
        <a:graphic>
          <a:graphicData uri="http://schemas.openxmlformats.org/drawingml/2006/table">
            <a:tbl>
              <a:tblPr/>
              <a:tblGrid>
                <a:gridCol w="4464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5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350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509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651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057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29698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71221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5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еспечение мерами </a:t>
                      </a:r>
                      <a:r>
                        <a:rPr kumimoji="0" lang="ru-RU" altLang="ru-RU" sz="17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.поддержки</a:t>
                      </a:r>
                      <a:endParaRPr kumimoji="0" lang="ru-RU" altLang="ru-RU" sz="1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5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-реабилитированных лиц</a:t>
                      </a:r>
                    </a:p>
                    <a:p>
                      <a:pPr marL="0" marR="0" lvl="0" indent="0" algn="l" defTabSz="457200" rtl="0" eaLnBrk="1" fontAlgn="base" latinLnBrk="0" hangingPunct="1">
                        <a:lnSpc>
                          <a:spcPct val="5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-пострадавших от политических репрессий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972,64</a:t>
                      </a:r>
                    </a:p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479,48</a:t>
                      </a:r>
                    </a:p>
                  </a:txBody>
                  <a:tcPr marT="45706" marB="45706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7</a:t>
                      </a:r>
                    </a:p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       1</a:t>
                      </a:r>
                    </a:p>
                  </a:txBody>
                  <a:tcPr marT="45706" marB="45706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843,0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 77</a:t>
                      </a:r>
                    </a:p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</a:p>
                  </a:txBody>
                  <a:tcPr marT="45706" marB="45706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819,1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6</a:t>
                      </a:r>
                    </a:p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</a:t>
                      </a:r>
                    </a:p>
                  </a:txBody>
                  <a:tcPr marT="45706" marB="45706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699,1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546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месячная доплата к пенсии гражданам, ставшими инвалидами в результате боевых действий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21,07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3,2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3,2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3,2</a:t>
                      </a:r>
                    </a:p>
                  </a:txBody>
                  <a:tcPr marT="45706" marB="4570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11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месячные денежные выплаты семьям погибших ветеранов в боевых действиях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21,07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1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05,9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1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05,9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1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05,9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2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бсидии по оплате коммунальных услуг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128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1 450,0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128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 864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28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9 036,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176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едоставление государственной помощи малоимущим семьям, малоимущим одиноко проживающим гражданам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 870,13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078,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078,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078,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2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иальное пособие на погребение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 370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49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49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49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27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егиональный проект «Многодетная семья»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2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2 674,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 630,8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3 630,8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2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7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едоставление мер социальной поддержки семьям и детям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200" b="1" i="0" u="none" strike="noStrike" cap="none" normalizeH="0" baseline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0 522,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 716,2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 689,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132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ТОГО</a:t>
                      </a:r>
                    </a:p>
                  </a:txBody>
                  <a:tcPr marT="45706" marB="45706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90 504,5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08 926,6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08 899,3</a:t>
                      </a:r>
                    </a:p>
                  </a:txBody>
                  <a:tcPr marT="45706" marB="4570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2038" name="Text Box 102"/>
          <p:cNvSpPr txBox="1">
            <a:spLocks noChangeArrowheads="1"/>
          </p:cNvSpPr>
          <p:nvPr/>
        </p:nvSpPr>
        <p:spPr bwMode="auto">
          <a:xfrm>
            <a:off x="0" y="0"/>
            <a:ext cx="12190413" cy="457200"/>
          </a:xfrm>
          <a:prstGeom prst="rect">
            <a:avLst/>
          </a:prstGeom>
          <a:gradFill rotWithShape="1">
            <a:gsLst>
              <a:gs pos="0">
                <a:srgbClr val="475E76"/>
              </a:gs>
              <a:gs pos="100000">
                <a:srgbClr val="99CCFF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2400">
                <a:latin typeface="Arial" charset="0"/>
              </a:rPr>
              <a:t>СОЦИАЛЬНАЯ ПОЛИТИКА ИЗОБИЛЬНЕНСКОГО ГОРОДСКОГО ОКРУГА</a:t>
            </a:r>
          </a:p>
        </p:txBody>
      </p:sp>
      <p:sp>
        <p:nvSpPr>
          <p:cNvPr id="82039" name="Text Box 89"/>
          <p:cNvSpPr txBox="1">
            <a:spLocks noChangeArrowheads="1"/>
          </p:cNvSpPr>
          <p:nvPr/>
        </p:nvSpPr>
        <p:spPr bwMode="auto">
          <a:xfrm>
            <a:off x="0" y="0"/>
            <a:ext cx="12190413" cy="83099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sz="2400" dirty="0">
                <a:solidFill>
                  <a:schemeClr val="accent3"/>
                </a:solidFill>
                <a:latin typeface="Arial" charset="0"/>
              </a:rPr>
              <a:t>СОЦИАЛЬНАЯ ПОЛИТИКА ИЗОБИЛЬНЕНСКОГО МУНИЦИПАЛЬНОГО ОКРУГА </a:t>
            </a:r>
          </a:p>
          <a:p>
            <a:pPr algn="ctr"/>
            <a:r>
              <a:rPr lang="ru-RU" altLang="ru-RU" sz="2400" dirty="0">
                <a:solidFill>
                  <a:schemeClr val="accent3"/>
                </a:solidFill>
                <a:latin typeface="Arial" charset="0"/>
              </a:rPr>
              <a:t>С УЧЕТОМ ИНТЕРЕСОВ  ЦЕЛЕВЫХ ГРУПП</a:t>
            </a:r>
          </a:p>
        </p:txBody>
      </p:sp>
      <p:cxnSp>
        <p:nvCxnSpPr>
          <p:cNvPr id="82040" name="Прямая соединительная линия 2"/>
          <p:cNvCxnSpPr>
            <a:cxnSpLocks noChangeShapeType="1"/>
          </p:cNvCxnSpPr>
          <p:nvPr/>
        </p:nvCxnSpPr>
        <p:spPr bwMode="auto">
          <a:xfrm>
            <a:off x="4654550" y="2492375"/>
            <a:ext cx="216058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82041" name="Прямая соединительная линия 4"/>
          <p:cNvCxnSpPr>
            <a:cxnSpLocks noChangeShapeType="1"/>
          </p:cNvCxnSpPr>
          <p:nvPr/>
        </p:nvCxnSpPr>
        <p:spPr bwMode="auto">
          <a:xfrm>
            <a:off x="7894638" y="2565400"/>
            <a:ext cx="865187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82042" name="Прямая соединительная линия 6"/>
          <p:cNvCxnSpPr>
            <a:cxnSpLocks noChangeShapeType="1"/>
          </p:cNvCxnSpPr>
          <p:nvPr/>
        </p:nvCxnSpPr>
        <p:spPr bwMode="auto">
          <a:xfrm>
            <a:off x="9983788" y="2565400"/>
            <a:ext cx="792162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5" name="Rectangle 2"/>
          <p:cNvSpPr>
            <a:spLocks noGrp="1"/>
          </p:cNvSpPr>
          <p:nvPr>
            <p:ph type="title"/>
          </p:nvPr>
        </p:nvSpPr>
        <p:spPr>
          <a:xfrm>
            <a:off x="25400" y="-27385"/>
            <a:ext cx="12190413" cy="792089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lvl="0" eaLnBrk="1" hangingPunct="1">
              <a:lnSpc>
                <a:spcPct val="70000"/>
              </a:lnSpc>
              <a:spcBef>
                <a:spcPct val="20000"/>
              </a:spcBef>
              <a:spcAft>
                <a:spcPts val="600"/>
              </a:spcAft>
            </a:pPr>
            <a:r>
              <a:rPr lang="ru-RU" altLang="ru-RU" sz="3600" dirty="0">
                <a:solidFill>
                  <a:schemeClr val="bg1"/>
                </a:solidFill>
                <a:latin typeface="Corbel" pitchFamily="34" charset="0"/>
              </a:rPr>
              <a:t>Предоставление мер социальной поддержки семьям и детям</a:t>
            </a:r>
          </a:p>
        </p:txBody>
      </p:sp>
      <p:graphicFrame>
        <p:nvGraphicFramePr>
          <p:cNvPr id="50314" name="Group 13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7877434"/>
              </p:ext>
            </p:extLst>
          </p:nvPr>
        </p:nvGraphicFramePr>
        <p:xfrm>
          <a:off x="118543" y="764704"/>
          <a:ext cx="11953327" cy="6148170"/>
        </p:xfrm>
        <a:graphic>
          <a:graphicData uri="http://schemas.openxmlformats.org/drawingml/2006/table">
            <a:tbl>
              <a:tblPr/>
              <a:tblGrid>
                <a:gridCol w="45190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4987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08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852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30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5671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2911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323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39095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мер выплат (норматив) руб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72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55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месячная выплата в случае рождения 3-го и последующих детей в возрасте до 3-х лет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5 481,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3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5 708,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-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576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годная денежная компенсация многодетным семьям на каждого из детей не старше 18 лет обучающихся в школах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 732,87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4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 090,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55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жемесячное пособие многодетным семьям на каждого ребенка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31,5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 373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1 724,1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555">
                <a:tc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ая денежная компенсация на каждого ребенка на оплату жилья и коммунальных услуг</a:t>
                      </a:r>
                      <a:endParaRPr kumimoji="0" lang="ru-RU" alt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31,5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 54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5 547,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 65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0 383,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31273">
                <a:tc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годная денежная компенсация на каждого из детей, обучающихся в общеобразовательных организациях, в целях их обеспечения одеждой для посещения учебных занятий, а также спортивной формой на весь период обучения</a:t>
                      </a:r>
                      <a:endParaRPr kumimoji="0" lang="ru-RU" alt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 732,87</a:t>
                      </a:r>
                    </a:p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400</a:t>
                      </a:r>
                    </a:p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 758,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 400</a:t>
                      </a:r>
                    </a:p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 896,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01936">
                <a:tc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ая денежная компенсация на каждого из детей, обучающихся в 5 - 11 классах общеобразовательных организаций и (или) обучающихся в профессиональных образовательных организациях по очной форме обучения, расположенных на территории Ставропольского края, в рамках предоставления им одноразового бесплатного питания на весь период обучения, за исключением каникулярного времени в летние месяцы</a:t>
                      </a:r>
                      <a:endParaRPr kumimoji="0" lang="ru-RU" altLang="ru-RU" sz="11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000,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47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 530,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47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 530,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977719">
                <a:tc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Ежемесячная денежная компенсация на каждого из детей, обучающихся в общеобразовательных организациях, на оплату проезда автомобильным транспортом (за исключением такси) в городском и пригородном сообщении, городским наземным электрическим транспортом</a:t>
                      </a:r>
                      <a:endParaRPr kumimoji="0" lang="ru-RU" alt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00,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 3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880,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 3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880,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2555">
                <a:tc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ТОГО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0 522,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5 716,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0 689,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3" name="Rectangle 2"/>
          <p:cNvSpPr>
            <a:spLocks noGrp="1"/>
          </p:cNvSpPr>
          <p:nvPr>
            <p:ph type="title"/>
          </p:nvPr>
        </p:nvSpPr>
        <p:spPr>
          <a:xfrm>
            <a:off x="25400" y="0"/>
            <a:ext cx="12190413" cy="511175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r>
              <a:rPr lang="ru-RU" altLang="ru-RU" sz="3600" b="1" dirty="0">
                <a:solidFill>
                  <a:schemeClr val="bg1"/>
                </a:solidFill>
              </a:rPr>
              <a:t>Социальный контракт</a:t>
            </a:r>
          </a:p>
        </p:txBody>
      </p:sp>
      <p:graphicFrame>
        <p:nvGraphicFramePr>
          <p:cNvPr id="50314" name="Group 13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995993"/>
              </p:ext>
            </p:extLst>
          </p:nvPr>
        </p:nvGraphicFramePr>
        <p:xfrm>
          <a:off x="119063" y="2133600"/>
          <a:ext cx="11881320" cy="3480718"/>
        </p:xfrm>
        <a:graphic>
          <a:graphicData uri="http://schemas.openxmlformats.org/drawingml/2006/table">
            <a:tbl>
              <a:tblPr/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226916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мер выплат (норматив) руб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807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 человек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, </a:t>
                      </a:r>
                      <a:r>
                        <a:rPr kumimoji="0" lang="ru-RU" altLang="ru-RU" sz="1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ыс.руб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.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7912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Виды </a:t>
                      </a:r>
                      <a:r>
                        <a:rPr kumimoji="0" lang="ru-RU" altLang="ru-RU" sz="16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оцконтрактов</a:t>
                      </a: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: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 pitchFamily="18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05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5964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ндивидуальная предпринимательская деятельность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50 000,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0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4 500,00</a:t>
                      </a:r>
                      <a:endParaRPr lang="ru-RU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50,00</a:t>
                      </a: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lang="en-US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8</a:t>
                      </a:r>
                      <a:r>
                        <a:rPr lang="ru-RU" sz="14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itchFamily="34" charset="0"/>
                          <a:cs typeface="Calibri" pitchFamily="34" charset="0"/>
                        </a:rPr>
                        <a:t>50,00</a:t>
                      </a: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3122">
                <a:tc vMerge="1">
                  <a:txBody>
                    <a:bodyPr/>
                    <a:lstStyle/>
                    <a:p>
                      <a:pPr marL="0" marR="0" lvl="0" indent="0" algn="just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86 558,00</a:t>
                      </a: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1400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035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Личное подсобное хозяйство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0 000,00</a:t>
                      </a: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0,00</a:t>
                      </a: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0,00</a:t>
                      </a: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R="36000"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4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2</a:t>
                      </a: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  <a:cs typeface="Calibri" pitchFamily="34" charset="0"/>
                        </a:rPr>
                        <a:t>00,00</a:t>
                      </a:r>
                    </a:p>
                  </a:txBody>
                  <a:tcPr marL="0" marR="36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0355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оиск работы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7 396,00</a:t>
                      </a: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244,1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992,1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992,1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0355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Тяжелая жизненная ситуация</a:t>
                      </a:r>
                    </a:p>
                  </a:txBody>
                  <a:tcPr marT="45710" marB="4571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7 396,00</a:t>
                      </a: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443,9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588,7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1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</a:t>
                      </a:r>
                      <a:r>
                        <a:rPr lang="en-US" sz="16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588,7</a:t>
                      </a:r>
                      <a:endParaRPr lang="ru-RU" sz="16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217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ИТОГО</a:t>
                      </a:r>
                    </a:p>
                  </a:txBody>
                  <a:tcPr marT="45710" marB="4571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</a:t>
                      </a:r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67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,5</a:t>
                      </a:r>
                      <a:endParaRPr lang="ru-RU" sz="16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3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630,8</a:t>
                      </a:r>
                      <a:endParaRPr lang="ru-RU" sz="16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45710" marB="4571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3</a:t>
                      </a:r>
                      <a:r>
                        <a:rPr lang="en-US" sz="16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 630,8</a:t>
                      </a:r>
                      <a:endParaRPr lang="ru-RU" sz="16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85090" name="TextBox 1"/>
          <p:cNvSpPr txBox="1">
            <a:spLocks noChangeArrowheads="1"/>
          </p:cNvSpPr>
          <p:nvPr/>
        </p:nvSpPr>
        <p:spPr bwMode="auto">
          <a:xfrm>
            <a:off x="312948" y="547688"/>
            <a:ext cx="1174231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just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Социальный контракт - один из видов государственной социальной помощи малоимущим семьям и </a:t>
            </a:r>
          </a:p>
          <a:p>
            <a:pPr algn="just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диноко проживающим гражданам. В Ставропольском крае она предоставляется с 2014 года.</a:t>
            </a:r>
          </a:p>
          <a:p>
            <a:pPr algn="just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Цель социального контракта — помочь человеку преодолеть сложную ситуацию. В результате </a:t>
            </a:r>
          </a:p>
          <a:p>
            <a:pPr algn="just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у обратившегося за помощью должен появиться постоянный источник дохода.</a:t>
            </a: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0525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3000" b="1" dirty="0">
                <a:solidFill>
                  <a:schemeClr val="bg1"/>
                </a:solidFill>
              </a:rPr>
              <a:t>Структура расходов бюджета в сфере образования Изобильненского муниципального округа</a:t>
            </a:r>
          </a:p>
        </p:txBody>
      </p:sp>
      <p:graphicFrame>
        <p:nvGraphicFramePr>
          <p:cNvPr id="31814" name="Group 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7127640"/>
              </p:ext>
            </p:extLst>
          </p:nvPr>
        </p:nvGraphicFramePr>
        <p:xfrm>
          <a:off x="117475" y="1484313"/>
          <a:ext cx="12072938" cy="5076826"/>
        </p:xfrm>
        <a:graphic>
          <a:graphicData uri="http://schemas.openxmlformats.org/drawingml/2006/table">
            <a:tbl>
              <a:tblPr/>
              <a:tblGrid>
                <a:gridCol w="27098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748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816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177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0288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3358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16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T="45726" marB="45726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дел, подраздел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 первонач.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      план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 прогноз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 прогноз</a:t>
                      </a:r>
                    </a:p>
                  </a:txBody>
                  <a:tcPr marT="45726" marB="45726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88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разование, всего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522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459,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389,2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 293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школьное образование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4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5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45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388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щее образование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2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91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79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06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12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полнительное образование детей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5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2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4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3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Профессиональная подготовка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олодежная политика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6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ругие вопросы</a:t>
                      </a:r>
                    </a:p>
                  </a:txBody>
                  <a:tcPr marL="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7 0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0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5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7107" name="Text Box 47"/>
          <p:cNvSpPr txBox="1">
            <a:spLocks noChangeArrowheads="1"/>
          </p:cNvSpPr>
          <p:nvPr/>
        </p:nvSpPr>
        <p:spPr bwMode="auto">
          <a:xfrm>
            <a:off x="11018838" y="1052513"/>
            <a:ext cx="117157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млн. руб.</a:t>
            </a: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90805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3200" b="1" dirty="0">
                <a:solidFill>
                  <a:schemeClr val="bg1"/>
                </a:solidFill>
              </a:rPr>
              <a:t>Расходы на содержание детей-сирот</a:t>
            </a:r>
          </a:p>
        </p:txBody>
      </p:sp>
      <p:graphicFrame>
        <p:nvGraphicFramePr>
          <p:cNvPr id="30792" name="Group 7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39415498"/>
              </p:ext>
            </p:extLst>
          </p:nvPr>
        </p:nvGraphicFramePr>
        <p:xfrm>
          <a:off x="119063" y="1196975"/>
          <a:ext cx="12013895" cy="4890218"/>
        </p:xfrm>
        <a:graphic>
          <a:graphicData uri="http://schemas.openxmlformats.org/drawingml/2006/table">
            <a:tbl>
              <a:tblPr/>
              <a:tblGrid>
                <a:gridCol w="3239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8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26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51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661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3699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15093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6756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22555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22247">
                <a:tc rowSpan="2"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  выплат</a:t>
                      </a:r>
                    </a:p>
                  </a:txBody>
                  <a:tcPr marL="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орматив,руб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на 1 ребенка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/2026/2027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4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год 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5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6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 год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2247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ол-во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умма</a:t>
                      </a: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1619"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Выплата денежных средств на содержание опекуну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7831/8144/8470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624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651,52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80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677,60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1619"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Единовременное пособие усыновителям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50 000,00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50,00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50,00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50,00</a:t>
                      </a:r>
                    </a:p>
                  </a:txBody>
                  <a:tcPr marL="9525" marR="171450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68679">
                <a:tc gridSpan="9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7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Выплата на содержание детей-сирот и детей, оставшихся без попечения родителей, в приемных семьях: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23" marB="45723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L="0" marR="18000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L="0" marR="18000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L="0" marR="18000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L="0" marR="180000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22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 3-х лет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8807/9159/9525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ru-RU" sz="20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 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8,8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 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9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9, 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22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т 3-7 лет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9653/10039/10441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ru-RU" sz="20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8,6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0,1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20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1,76</a:t>
                      </a:r>
                    </a:p>
                  </a:txBody>
                  <a:tcPr marL="9525" marR="9525" marT="9525" marB="0" anchor="ctr"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22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т 7-18 лет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1094/11538/12000</a:t>
                      </a: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 rtl="0" fontAlgn="ctr"/>
                      <a:endParaRPr lang="ru-RU" sz="2000" b="0" i="0" u="none" strike="noStrike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10,4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26,9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7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2000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44,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88132" name="Text Box 203"/>
          <p:cNvSpPr txBox="1">
            <a:spLocks noChangeArrowheads="1"/>
          </p:cNvSpPr>
          <p:nvPr/>
        </p:nvSpPr>
        <p:spPr bwMode="auto">
          <a:xfrm>
            <a:off x="11245850" y="908050"/>
            <a:ext cx="9302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sz="1400"/>
              <a:t>тыс. руб.</a:t>
            </a: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981075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r>
              <a:rPr lang="ru-RU" altLang="ru-RU" b="1" dirty="0">
                <a:solidFill>
                  <a:schemeClr val="bg1"/>
                </a:solidFill>
              </a:rPr>
              <a:t>Сведения об учреждениях в сфере образования</a:t>
            </a:r>
          </a:p>
        </p:txBody>
      </p:sp>
      <p:graphicFrame>
        <p:nvGraphicFramePr>
          <p:cNvPr id="63529" name="Group 41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32847291"/>
              </p:ext>
            </p:extLst>
          </p:nvPr>
        </p:nvGraphicFramePr>
        <p:xfrm>
          <a:off x="190500" y="1341438"/>
          <a:ext cx="11809413" cy="2749551"/>
        </p:xfrm>
        <a:graphic>
          <a:graphicData uri="http://schemas.openxmlformats.org/drawingml/2006/table">
            <a:tbl>
              <a:tblPr/>
              <a:tblGrid>
                <a:gridCol w="47371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006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68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700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1175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marT="45731" marB="4573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Сеть учреждений 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Количество учащихся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16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023/2024 учебный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024/2025 учебный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023/2024 учебный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024/2025 учебный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276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школьное образование</a:t>
                      </a:r>
                    </a:p>
                  </a:txBody>
                  <a:tcPr marT="45731" marB="4573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 63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 46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276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щее образование</a:t>
                      </a:r>
                    </a:p>
                  </a:txBody>
                  <a:tcPr marT="45731" marB="4573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9 79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9 6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11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полнительное образование</a:t>
                      </a:r>
                    </a:p>
                  </a:txBody>
                  <a:tcPr marT="45731" marB="45731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 6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 52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9125" name="Picture 2" descr="C:\Users\Пользователь2\Desktop\Почта\мои документы\дети шк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678738" y="4292600"/>
            <a:ext cx="4137025" cy="2449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9126" name="Picture 3" descr="C:\Users\Пользователь2\Desktop\Почта\мои документы\дети дс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66763" y="4211638"/>
            <a:ext cx="4248150" cy="2595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3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908050"/>
          </a:xfrm>
          <a:solidFill>
            <a:schemeClr val="tx1">
              <a:lumMod val="65000"/>
              <a:lumOff val="35000"/>
            </a:schemeClr>
          </a:solidFill>
        </p:spPr>
        <p:txBody>
          <a:bodyPr/>
          <a:lstStyle/>
          <a:p>
            <a:r>
              <a:rPr lang="ru-RU" altLang="ru-RU" sz="3000" b="1" dirty="0">
                <a:solidFill>
                  <a:schemeClr val="bg1"/>
                </a:solidFill>
              </a:rPr>
              <a:t>Средства краевого бюджета на образование </a:t>
            </a:r>
            <a:br>
              <a:rPr lang="ru-RU" altLang="ru-RU" sz="3000" b="1" dirty="0">
                <a:solidFill>
                  <a:schemeClr val="bg1"/>
                </a:solidFill>
              </a:rPr>
            </a:br>
            <a:r>
              <a:rPr lang="ru-RU" altLang="ru-RU" sz="3000" b="1" dirty="0">
                <a:solidFill>
                  <a:schemeClr val="bg1"/>
                </a:solidFill>
              </a:rPr>
              <a:t>в </a:t>
            </a:r>
            <a:r>
              <a:rPr lang="ru-RU" altLang="ru-RU" sz="3000" b="1" dirty="0" err="1">
                <a:solidFill>
                  <a:schemeClr val="bg1"/>
                </a:solidFill>
              </a:rPr>
              <a:t>Изобильненском</a:t>
            </a:r>
            <a:r>
              <a:rPr lang="ru-RU" altLang="ru-RU" sz="3000" b="1" dirty="0">
                <a:solidFill>
                  <a:schemeClr val="bg1"/>
                </a:solidFill>
              </a:rPr>
              <a:t> муниципальном округе</a:t>
            </a:r>
          </a:p>
        </p:txBody>
      </p:sp>
      <p:graphicFrame>
        <p:nvGraphicFramePr>
          <p:cNvPr id="64556" name="Group 4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13427200"/>
              </p:ext>
            </p:extLst>
          </p:nvPr>
        </p:nvGraphicFramePr>
        <p:xfrm>
          <a:off x="117475" y="2667000"/>
          <a:ext cx="11809413" cy="3263900"/>
        </p:xfrm>
        <a:graphic>
          <a:graphicData uri="http://schemas.openxmlformats.org/drawingml/2006/table">
            <a:tbl>
              <a:tblPr/>
              <a:tblGrid>
                <a:gridCol w="23764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9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39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8432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6842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3986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97790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24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25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Отклонение 2025  к 2024 год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26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Отклонение 2026  к 2025 году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027 год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Отклонение 2027  к 2026 году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1563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ошкольное образование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5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9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2F6719"/>
                          </a:solidFill>
                          <a:effectLst/>
                          <a:latin typeface="Calibri"/>
                        </a:rPr>
                        <a:t>4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9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66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19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9900"/>
                          </a:solidFill>
                          <a:effectLst/>
                          <a:latin typeface="Calibri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3150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Общее образование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orbel" pitchFamily="34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61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615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6600"/>
                          </a:solidFill>
                          <a:effectLst/>
                          <a:latin typeface="Calibri"/>
                        </a:rPr>
                        <a:t>154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547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-68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/>
                        </a:rPr>
                        <a:t>45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C00000"/>
                          </a:solidFill>
                          <a:effectLst/>
                          <a:latin typeface="Calibri"/>
                        </a:rPr>
                        <a:t>-8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0152" name="Text Box 41"/>
          <p:cNvSpPr txBox="1">
            <a:spLocks noChangeArrowheads="1"/>
          </p:cNvSpPr>
          <p:nvPr/>
        </p:nvSpPr>
        <p:spPr bwMode="auto">
          <a:xfrm>
            <a:off x="190500" y="1319391"/>
            <a:ext cx="11753850" cy="1261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altLang="ru-RU" sz="19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Ежегодно из краевого бюджета бюджету Изобильненского муниципального выделяются денежные средства на обеспечение гарантий реализации прав на получение общедоступного и бесплатного дошкольного образования, начального общего, основного общего, среднего общего образования.</a:t>
            </a:r>
          </a:p>
        </p:txBody>
      </p:sp>
      <p:sp>
        <p:nvSpPr>
          <p:cNvPr id="90153" name="Text Box 42"/>
          <p:cNvSpPr txBox="1">
            <a:spLocks noChangeArrowheads="1"/>
          </p:cNvSpPr>
          <p:nvPr/>
        </p:nvSpPr>
        <p:spPr bwMode="auto">
          <a:xfrm>
            <a:off x="10847388" y="2276475"/>
            <a:ext cx="950912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sz="1400"/>
              <a:t>млн. руб.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19063" y="476250"/>
            <a:ext cx="11985625" cy="63404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Главный администратор источников финансирования дефицита бюджета (главный администратор источников финансирования дефицита соответствующего бюджета)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пределенный законом (решением) о бюджете орган государственной власти (государственный орган), орган местного самоуправления, орган местной администрации, орган управления государственным внебюджетным фондом, иная организация, имеющие в своем ведении администраторов источников финансирования дефицита бюджета и (или) являющиеся администраторами источников финансирования дефицита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Главный распорядитель бюджетных средств (главный распорядитель средств соответствующего бюджета)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- орган государственной власти (государственный орган), орган управления государственным внебюджетным фондом, орган местного самоуправления, орган местной администрации, а также наиболее значимое учреждение науки, образования, культуры и здравоохранения, указанное в ведомственной структуре расходов бюджета, имеющие право распределять бюджетные ассигнования и лимиты бюджетных обязательств между подведомственными распорядителями и (или) получателями бюджетных средств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Государственный или муниципальный долг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бязательства, возникающие из государственных или муниципальных заимствований, гарантий по обязательствам третьих лиц, другие обязательства в соответствии с видами долговых обязательств, установленными Бюджетным кодексом, принятые на себя Российской Федерацией, субъектом Российской Федерации или муниципальным образованием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Денежные обязательств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бязанность получателя бюджетных средств уплатить бюджету, физическому лицу и юридическому лицу за счет средств бюджета определенные денежные средства в соответствии с выполненными условиями гражданско-правовой сделки, заключенной в рамках его бюджетных полномочий, или в соответствии с положениями закона, иного правового акта, условиями договора или соглашения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Дефицит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ревышение расходов бюджета над его доходами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Дотации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межбюджетные трансферты, предоставляемые на безвозмездной и безвозвратной основе без установления направлений и (или) условий их использования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Доходы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оступающие в бюджет денежные средства, за исключением средств, являющихся в соответствии с настоящим Кодексом источниками финансирования дефицита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7" name="Rectangle 14"/>
          <p:cNvSpPr txBox="1">
            <a:spLocks noChangeArrowheads="1"/>
          </p:cNvSpPr>
          <p:nvPr/>
        </p:nvSpPr>
        <p:spPr>
          <a:xfrm>
            <a:off x="334963" y="-26988"/>
            <a:ext cx="11133137" cy="1008063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1438275" algn="l"/>
              </a:tabLst>
              <a:defRPr/>
            </a:pPr>
            <a:r>
              <a:rPr lang="ru-RU" altLang="ru-RU" sz="28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Lucida Console" pitchFamily="49" charset="0"/>
              </a:rPr>
              <a:t>ГЛОССАРИЙ</a:t>
            </a: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7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90805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3000" b="1" dirty="0">
                <a:solidFill>
                  <a:schemeClr val="bg1"/>
                </a:solidFill>
              </a:rPr>
              <a:t>Структура расходов бюджета в сфере культуры Изобильненского муниципального округа</a:t>
            </a:r>
          </a:p>
        </p:txBody>
      </p:sp>
      <p:graphicFrame>
        <p:nvGraphicFramePr>
          <p:cNvPr id="34861" name="Group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9455480"/>
              </p:ext>
            </p:extLst>
          </p:nvPr>
        </p:nvGraphicFramePr>
        <p:xfrm>
          <a:off x="333375" y="1412875"/>
          <a:ext cx="11310938" cy="2576513"/>
        </p:xfrm>
        <a:graphic>
          <a:graphicData uri="http://schemas.openxmlformats.org/drawingml/2006/table">
            <a:tbl>
              <a:tblPr/>
              <a:tblGrid>
                <a:gridCol w="27352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1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4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8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896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6213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16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T="45731" marB="4573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дел, подраздел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 первонач.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   план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 прогноз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 прогноз</a:t>
                      </a:r>
                    </a:p>
                  </a:txBody>
                  <a:tcPr marT="45731" marB="45731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88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ультура и кинематография</a:t>
                      </a:r>
                    </a:p>
                  </a:txBody>
                  <a:tcPr marL="108000" marR="0" marT="0" marB="0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8 0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0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82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5,6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2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Культура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8 0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0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70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64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61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ругие вопросы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8 0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0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1175" name="Text Box 47"/>
          <p:cNvSpPr txBox="1">
            <a:spLocks noChangeArrowheads="1"/>
          </p:cNvSpPr>
          <p:nvPr/>
        </p:nvSpPr>
        <p:spPr bwMode="auto">
          <a:xfrm>
            <a:off x="10560050" y="1052513"/>
            <a:ext cx="1173163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млн. руб.</a:t>
            </a:r>
          </a:p>
        </p:txBody>
      </p:sp>
      <p:sp>
        <p:nvSpPr>
          <p:cNvPr id="91176" name="Text Box 52"/>
          <p:cNvSpPr txBox="1">
            <a:spLocks noChangeArrowheads="1"/>
          </p:cNvSpPr>
          <p:nvPr/>
        </p:nvSpPr>
        <p:spPr bwMode="auto">
          <a:xfrm>
            <a:off x="189864" y="4089400"/>
            <a:ext cx="9937750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just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</a:t>
            </a:r>
            <a:r>
              <a:rPr lang="ru-RU" altLang="ru-RU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Изобильненском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муниципальном округе находится 6 учреждений </a:t>
            </a:r>
          </a:p>
          <a:p>
            <a:pPr algn="just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дополнительного образования детей, в том числе 3 филиала: 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городе Изобильном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-  Детские школы Искусств №1 и № 2, </a:t>
            </a:r>
          </a:p>
          <a:p>
            <a:pPr algn="just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                                   детская художественная школа ,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поселке </a:t>
            </a:r>
            <a:r>
              <a:rPr lang="ru-RU" altLang="ru-RU" u="sng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Солнечнодольск</a:t>
            </a:r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- детская школа искусств и художественная школа,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поселке Рыздвяном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– детская школа искусств, 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селе Московском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– филиал детской школы искусств п. Рыздвяный,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селе Птичьем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– филиал детской школы искусств №1 ,</a:t>
            </a:r>
          </a:p>
          <a:p>
            <a:pPr algn="just"/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селе </a:t>
            </a:r>
            <a:r>
              <a:rPr lang="ru-RU" altLang="ru-RU" u="sng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Тищенском</a:t>
            </a:r>
            <a:r>
              <a:rPr lang="ru-RU" altLang="ru-RU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- филиал детской школы искусств №1.  </a:t>
            </a:r>
            <a:r>
              <a:rPr lang="ru-RU" alt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сего 1 165 обучающихся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</p:txBody>
      </p:sp>
      <p:pic>
        <p:nvPicPr>
          <p:cNvPr id="91177" name="Picture 2" descr="C:\Users\Пользователь2\Desktop\Почта\мои документы\муз шк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047163" y="4089400"/>
            <a:ext cx="3097212" cy="230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1" name="Rectangle 2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1150938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/>
            <a:r>
              <a:rPr lang="ru-RU" altLang="ru-RU" sz="3400" b="1" dirty="0">
                <a:solidFill>
                  <a:schemeClr val="bg1"/>
                </a:solidFill>
              </a:rPr>
              <a:t>Структура расходов бюджета в сфере физической культуры и спорта Изобильненского муниципального округа</a:t>
            </a:r>
          </a:p>
        </p:txBody>
      </p:sp>
      <p:graphicFrame>
        <p:nvGraphicFramePr>
          <p:cNvPr id="35891" name="Group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9911535"/>
              </p:ext>
            </p:extLst>
          </p:nvPr>
        </p:nvGraphicFramePr>
        <p:xfrm>
          <a:off x="550863" y="1844675"/>
          <a:ext cx="11164887" cy="3825876"/>
        </p:xfrm>
        <a:graphic>
          <a:graphicData uri="http://schemas.openxmlformats.org/drawingml/2006/table">
            <a:tbl>
              <a:tblPr/>
              <a:tblGrid>
                <a:gridCol w="25892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46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54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73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605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5896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16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Наименование</a:t>
                      </a:r>
                    </a:p>
                  </a:txBody>
                  <a:tcPr marT="45729" marB="45729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Раздел, подраздел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4 год первонач.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5 год   план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6 год прогноз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2027 год прогноз</a:t>
                      </a:r>
                    </a:p>
                  </a:txBody>
                  <a:tcPr marT="45729" marB="45729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388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Физическая культура и спорт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0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2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,</a:t>
                      </a: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42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5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34,7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Физическая культура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0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4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3888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Массовый спорт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02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,8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4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,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475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Спорт высших достижений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03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0,0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3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2,1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,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5475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orbel" pitchFamily="34" charset="0"/>
                        </a:rPr>
                        <a:t>Другие вопросы</a:t>
                      </a:r>
                    </a:p>
                  </a:txBody>
                  <a:tcPr marL="108000" marR="0" marT="0" marB="0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1 05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,</a:t>
                      </a:r>
                      <a:r>
                        <a:rPr kumimoji="0" lang="en-US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7</a:t>
                      </a:r>
                      <a:endParaRPr kumimoji="0" lang="ru-RU" altLang="ru-R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Calibri" pitchFamily="34" charset="0"/>
                        </a:rPr>
                        <a:t>1,9</a:t>
                      </a:r>
                    </a:p>
                  </a:txBody>
                  <a:tcPr marL="0" marR="18000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2206" name="Text Box 47"/>
          <p:cNvSpPr txBox="1">
            <a:spLocks noChangeArrowheads="1"/>
          </p:cNvSpPr>
          <p:nvPr/>
        </p:nvSpPr>
        <p:spPr bwMode="auto">
          <a:xfrm>
            <a:off x="10414000" y="1412875"/>
            <a:ext cx="11747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ru-RU"/>
              <a:t>млн. руб.</a:t>
            </a:r>
          </a:p>
        </p:txBody>
      </p:sp>
      <p:sp>
        <p:nvSpPr>
          <p:cNvPr id="92207" name="Text Box 50"/>
          <p:cNvSpPr txBox="1">
            <a:spLocks noChangeArrowheads="1"/>
          </p:cNvSpPr>
          <p:nvPr/>
        </p:nvSpPr>
        <p:spPr bwMode="auto">
          <a:xfrm>
            <a:off x="322263" y="5673427"/>
            <a:ext cx="116919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На территории Изобильненского </a:t>
            </a:r>
            <a:r>
              <a:rPr lang="ru-RU" altLang="ru-RU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муиципального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округа действует специализированное</a:t>
            </a:r>
          </a:p>
          <a:p>
            <a:pPr algn="ctr"/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 учреждение по оказанию услуг в сфере физической культуры и спорта - «Спорткомплекс «Юность»</a:t>
            </a:r>
          </a:p>
          <a:p>
            <a:pPr algn="ctr"/>
            <a:r>
              <a:rPr lang="ru-RU" altLang="ru-RU" dirty="0"/>
              <a:t> </a:t>
            </a:r>
          </a:p>
        </p:txBody>
      </p:sp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5" name="Заголовок 3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222163" cy="620713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algn="r" eaLnBrk="1" hangingPunct="1">
              <a:lnSpc>
                <a:spcPct val="80000"/>
              </a:lnSpc>
            </a:pPr>
            <a:r>
              <a:rPr lang="ru-RU" altLang="ru-RU" sz="3200" b="1" dirty="0">
                <a:solidFill>
                  <a:schemeClr val="bg1"/>
                </a:solidFill>
              </a:rPr>
              <a:t>РЕАЛИЗОВАННЫЕ  МЕСТНЫЕ   ИНИЦИАТИВЫ в 2024 году</a:t>
            </a:r>
          </a:p>
        </p:txBody>
      </p:sp>
      <p:pic>
        <p:nvPicPr>
          <p:cNvPr id="93186" name="Рисунок 7" descr="Безымянный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/>
          <a:srcRect/>
          <a:stretch>
            <a:fillRect/>
          </a:stretch>
        </p:blipFill>
        <p:spPr bwMode="auto">
          <a:xfrm>
            <a:off x="46038" y="23813"/>
            <a:ext cx="865187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Блок-схема: альтернативный процесс 4"/>
          <p:cNvSpPr/>
          <p:nvPr/>
        </p:nvSpPr>
        <p:spPr bwMode="auto">
          <a:xfrm>
            <a:off x="406574" y="1124744"/>
            <a:ext cx="91440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 bwMode="auto">
          <a:xfrm>
            <a:off x="406574" y="1970548"/>
            <a:ext cx="91440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1" name="Блок-схема: альтернативный процесс 10"/>
          <p:cNvSpPr/>
          <p:nvPr/>
        </p:nvSpPr>
        <p:spPr bwMode="auto">
          <a:xfrm>
            <a:off x="1387611" y="1997842"/>
            <a:ext cx="4009971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2" name="Блок-схема: альтернативный процесс 11"/>
          <p:cNvSpPr/>
          <p:nvPr/>
        </p:nvSpPr>
        <p:spPr bwMode="auto">
          <a:xfrm>
            <a:off x="1387611" y="1124744"/>
            <a:ext cx="400992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3" name="Блок-схема: альтернативный процесс 12"/>
          <p:cNvSpPr/>
          <p:nvPr/>
        </p:nvSpPr>
        <p:spPr bwMode="auto">
          <a:xfrm>
            <a:off x="406574" y="2672336"/>
            <a:ext cx="91440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4" name="Блок-схема: альтернативный процесс 13"/>
          <p:cNvSpPr/>
          <p:nvPr/>
        </p:nvSpPr>
        <p:spPr bwMode="auto">
          <a:xfrm>
            <a:off x="1396766" y="2704973"/>
            <a:ext cx="400992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5" name="Блок-схема: альтернативный процесс 14"/>
          <p:cNvSpPr/>
          <p:nvPr/>
        </p:nvSpPr>
        <p:spPr bwMode="auto">
          <a:xfrm>
            <a:off x="391891" y="3467437"/>
            <a:ext cx="91440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6" name="Блок-схема: альтернативный процесс 15"/>
          <p:cNvSpPr/>
          <p:nvPr/>
        </p:nvSpPr>
        <p:spPr bwMode="auto">
          <a:xfrm>
            <a:off x="1387611" y="3467437"/>
            <a:ext cx="400992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7" name="Блок-схема: альтернативный процесс 16"/>
          <p:cNvSpPr/>
          <p:nvPr/>
        </p:nvSpPr>
        <p:spPr bwMode="auto">
          <a:xfrm>
            <a:off x="406574" y="4298371"/>
            <a:ext cx="914400" cy="722433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8" name="Блок-схема: альтернативный процесс 17"/>
          <p:cNvSpPr/>
          <p:nvPr/>
        </p:nvSpPr>
        <p:spPr bwMode="auto">
          <a:xfrm>
            <a:off x="1396766" y="4298372"/>
            <a:ext cx="4009920" cy="722433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19" name="Блок-схема: альтернативный процесс 18"/>
          <p:cNvSpPr/>
          <p:nvPr/>
        </p:nvSpPr>
        <p:spPr bwMode="auto">
          <a:xfrm>
            <a:off x="406574" y="5192616"/>
            <a:ext cx="91440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20" name="Блок-схема: альтернативный процесс 19"/>
          <p:cNvSpPr/>
          <p:nvPr/>
        </p:nvSpPr>
        <p:spPr bwMode="auto">
          <a:xfrm>
            <a:off x="1414347" y="5192616"/>
            <a:ext cx="400992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30710" y="1308348"/>
            <a:ext cx="3523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Ремонт автомобильных дорог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636910" y="2092206"/>
            <a:ext cx="35621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Ремонт спортивной площадки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636910" y="2793994"/>
            <a:ext cx="37914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бустройство мест захоронения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22092" y="3578372"/>
            <a:ext cx="43410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Благоустройство детской площадки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558702" y="4325440"/>
            <a:ext cx="386676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Ремонт и обустройство парковой</a:t>
            </a:r>
          </a:p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зоны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569261" y="5319459"/>
            <a:ext cx="23198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</a:rPr>
              <a:t>Озеленение сквера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39101" y="1186880"/>
            <a:ext cx="56618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5917" y="2042556"/>
            <a:ext cx="3465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51949" y="2675010"/>
            <a:ext cx="4347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</a:p>
        </p:txBody>
      </p:sp>
      <p:sp>
        <p:nvSpPr>
          <p:cNvPr id="93187" name="TextBox 93186"/>
          <p:cNvSpPr txBox="1"/>
          <p:nvPr/>
        </p:nvSpPr>
        <p:spPr>
          <a:xfrm>
            <a:off x="609706" y="4345991"/>
            <a:ext cx="3690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</a:p>
        </p:txBody>
      </p:sp>
      <p:sp>
        <p:nvSpPr>
          <p:cNvPr id="93191" name="Блок-схема: альтернативный процесс 93190"/>
          <p:cNvSpPr/>
          <p:nvPr/>
        </p:nvSpPr>
        <p:spPr bwMode="auto">
          <a:xfrm>
            <a:off x="5519142" y="1142166"/>
            <a:ext cx="148208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2" name="Блок-схема: альтернативный процесс 93191"/>
          <p:cNvSpPr/>
          <p:nvPr/>
        </p:nvSpPr>
        <p:spPr bwMode="auto">
          <a:xfrm>
            <a:off x="5519142" y="1970548"/>
            <a:ext cx="148208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3" name="Блок-схема: альтернативный процесс 93192"/>
          <p:cNvSpPr/>
          <p:nvPr/>
        </p:nvSpPr>
        <p:spPr bwMode="auto">
          <a:xfrm>
            <a:off x="5540102" y="2718039"/>
            <a:ext cx="1440160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4" name="Блок-схема: альтернативный процесс 93193"/>
          <p:cNvSpPr/>
          <p:nvPr/>
        </p:nvSpPr>
        <p:spPr bwMode="auto">
          <a:xfrm>
            <a:off x="5541471" y="3500855"/>
            <a:ext cx="1459751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6" name="Блок-схема: альтернативный процесс 93195"/>
          <p:cNvSpPr/>
          <p:nvPr/>
        </p:nvSpPr>
        <p:spPr bwMode="auto">
          <a:xfrm>
            <a:off x="5554137" y="5197801"/>
            <a:ext cx="1455736" cy="612648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7" name="Блок-схема: альтернативный процесс 93196"/>
          <p:cNvSpPr/>
          <p:nvPr/>
        </p:nvSpPr>
        <p:spPr bwMode="auto">
          <a:xfrm>
            <a:off x="5533927" y="4359122"/>
            <a:ext cx="1452510" cy="661681"/>
          </a:xfrm>
          <a:prstGeom prst="flowChartAlternateProcess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Comic Sans MS" pitchFamily="66" charset="0"/>
            </a:endParaRPr>
          </a:p>
        </p:txBody>
      </p:sp>
      <p:sp>
        <p:nvSpPr>
          <p:cNvPr id="93198" name="TextBox 93197"/>
          <p:cNvSpPr txBox="1"/>
          <p:nvPr/>
        </p:nvSpPr>
        <p:spPr>
          <a:xfrm>
            <a:off x="5607599" y="1299915"/>
            <a:ext cx="13708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44 672,40</a:t>
            </a:r>
          </a:p>
        </p:txBody>
      </p:sp>
      <p:sp>
        <p:nvSpPr>
          <p:cNvPr id="93199" name="TextBox 93198"/>
          <p:cNvSpPr txBox="1"/>
          <p:nvPr/>
        </p:nvSpPr>
        <p:spPr>
          <a:xfrm>
            <a:off x="5688387" y="2092206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3 827,04</a:t>
            </a:r>
          </a:p>
        </p:txBody>
      </p:sp>
      <p:sp>
        <p:nvSpPr>
          <p:cNvPr id="93200" name="TextBox 93199"/>
          <p:cNvSpPr txBox="1"/>
          <p:nvPr/>
        </p:nvSpPr>
        <p:spPr>
          <a:xfrm>
            <a:off x="5699954" y="2839697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5 972,71</a:t>
            </a:r>
          </a:p>
        </p:txBody>
      </p:sp>
      <p:sp>
        <p:nvSpPr>
          <p:cNvPr id="93201" name="TextBox 93200"/>
          <p:cNvSpPr txBox="1"/>
          <p:nvPr/>
        </p:nvSpPr>
        <p:spPr>
          <a:xfrm>
            <a:off x="5718388" y="3622513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7 940,08</a:t>
            </a:r>
          </a:p>
        </p:txBody>
      </p:sp>
      <p:sp>
        <p:nvSpPr>
          <p:cNvPr id="93202" name="TextBox 93201"/>
          <p:cNvSpPr txBox="1"/>
          <p:nvPr/>
        </p:nvSpPr>
        <p:spPr>
          <a:xfrm>
            <a:off x="5732249" y="4505296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3 538,99</a:t>
            </a:r>
          </a:p>
        </p:txBody>
      </p:sp>
      <p:sp>
        <p:nvSpPr>
          <p:cNvPr id="93203" name="TextBox 93202"/>
          <p:cNvSpPr txBox="1"/>
          <p:nvPr/>
        </p:nvSpPr>
        <p:spPr>
          <a:xfrm>
            <a:off x="5713814" y="5287912"/>
            <a:ext cx="12298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 611,22</a:t>
            </a:r>
          </a:p>
        </p:txBody>
      </p:sp>
      <p:graphicFrame>
        <p:nvGraphicFramePr>
          <p:cNvPr id="93205" name="Диаграмма 93204"/>
          <p:cNvGraphicFramePr/>
          <p:nvPr>
            <p:extLst>
              <p:ext uri="{D42A27DB-BD31-4B8C-83A1-F6EECF244321}">
                <p14:modId xmlns:p14="http://schemas.microsoft.com/office/powerpoint/2010/main" val="3862026000"/>
              </p:ext>
            </p:extLst>
          </p:nvPr>
        </p:nvGraphicFramePr>
        <p:xfrm>
          <a:off x="6980262" y="1583154"/>
          <a:ext cx="5093020" cy="3915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63768" y="3512151"/>
            <a:ext cx="3907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2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51949" y="5256773"/>
            <a:ext cx="36901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832697373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575" name="Group 15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5613126"/>
              </p:ext>
            </p:extLst>
          </p:nvPr>
        </p:nvGraphicFramePr>
        <p:xfrm>
          <a:off x="0" y="0"/>
          <a:ext cx="12190412" cy="480991"/>
        </p:xfrm>
        <a:graphic>
          <a:graphicData uri="http://schemas.openxmlformats.org/drawingml/2006/table">
            <a:tbl>
              <a:tblPr/>
              <a:tblGrid>
                <a:gridCol w="121904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80991">
                <a:tc>
                  <a:txBody>
                    <a:bodyPr/>
                    <a:lstStyle>
                      <a:lvl1pPr marL="2857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20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2pPr>
                      <a:lvl3pPr marL="1200150" indent="-2857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6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3pPr>
                      <a:lvl4pPr marL="1543050" indent="-1714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4pPr>
                      <a:lvl5pPr marL="2000250" indent="-171450" algn="l" defTabSz="457200" ea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5pPr>
                      <a:lvl6pPr marL="2457450" indent="-17145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6pPr>
                      <a:lvl7pPr marL="2914650" indent="-17145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7pPr>
                      <a:lvl8pPr marL="3371850" indent="-17145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8pPr>
                      <a:lvl9pPr marL="3829050" indent="-171450" defTabSz="457200" eaLnBrk="0" fontAlgn="base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Clr>
                          <a:srgbClr val="8D1515"/>
                        </a:buClr>
                        <a:buSzPct val="145000"/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Corbel" pitchFamily="34" charset="0"/>
                        </a:defRPr>
                      </a:lvl9pPr>
                    </a:lstStyle>
                    <a:p>
                      <a:pPr marL="285750" marR="0" lvl="0" indent="-28575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МЕСТНЫЕ ИНИЦИАТИВЫ НА 2025 ГОД В ИЗОБИЛЬНЕНСКОМ МУНИЦИПАЛЬНОМ ОКРУГЕ              </a:t>
                      </a:r>
                      <a:r>
                        <a:rPr kumimoji="0" lang="ru-RU" altLang="ru-RU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</a:rPr>
                        <a:t>тыс. руб.</a:t>
                      </a:r>
                      <a:endParaRPr kumimoji="0" lang="ru-RU" alt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T="45706" marB="45706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4174721"/>
              </p:ext>
            </p:extLst>
          </p:nvPr>
        </p:nvGraphicFramePr>
        <p:xfrm>
          <a:off x="46534" y="620688"/>
          <a:ext cx="11953328" cy="61002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609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731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426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 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Наименование проекта</a:t>
                      </a:r>
                      <a:endParaRPr lang="ru-RU" sz="14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Краевая субсидия</a:t>
                      </a:r>
                      <a:b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</a:br>
                      <a: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(руб.)</a:t>
                      </a:r>
                      <a:endParaRPr lang="ru-RU" sz="10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Местный бюджет (руб.)</a:t>
                      </a:r>
                      <a:endParaRPr lang="ru-RU" sz="10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err="1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Внебюджет</a:t>
                      </a:r>
                      <a: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 (руб.)</a:t>
                      </a:r>
                      <a:endParaRPr lang="ru-RU" sz="10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</a:rPr>
                        <a:t>Стоимость проекта (руб.)</a:t>
                      </a:r>
                      <a:endParaRPr lang="ru-RU" sz="10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34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автодороги по улице Октябрьская  в ст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Баклановская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935,93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22,61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258,54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15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местного значения в асфальтовом исполнении по ул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Буклова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в ст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Каменнобродская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 091,02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491,02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автодороги местного значения в гравийном исполнении по улице Заречная в ст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Филимоновская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572,71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72,71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автодороги общего пользования местного значения по ул. Шолохова в с Московское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596,71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8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76,71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9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общего пользования местного значения по ул.  Школьная в п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Новоизобильный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771,64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71,64</a:t>
                      </a:r>
                      <a:endParaRPr lang="ru-RU" sz="1200" b="1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07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Приобретение музыкального, звукового и осветительного оборудования для нужд МКУК «ДК ст. Новотроицкой» в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ст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Новотроицкая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504,57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5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54,57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общего пользования  в асфальтовом исполнении по п Веселому  в п Передовой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 198,52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498,52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по ул. Луговая в с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Подлужное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569,27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3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99,27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по ул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Гребенькова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в с Птичье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997,68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02,3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499,98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0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пешеходной дорожки  в ст. Рождественская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590,75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4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30,75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274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1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Обустройство спортивной площадки  в п Рыздвяный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629,32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57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86,32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2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Обустройство детской площадки  в п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Солнечнодольск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751,99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72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223,99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3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Обустройство детской площадки в п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Солнечнодольск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 231,87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72,8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704,67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4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Обустройство тротуара по улице Мира  в х Спорный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711,12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85,2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96,32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5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Благоустройство территории за зданием МКУ «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Староизобильненский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СДК» ИМО СК в ст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Староизобильная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684,47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11,1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95,57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</a:rPr>
                        <a:t>16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 автодороги общего пользования местного значения по ул. Толстого, по ул. Рыбацкая  в с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Тищенское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407,14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8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687,14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7269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автодороги общего пользования в гравийном исполнении по ул. Степной и по ул. Пролетарской в х Беляев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845,58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83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28,58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8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Ограждение территории кладбища в с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Найденовка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1 846,09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8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4 926,09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25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19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Ремонт автодороги общего пользования местного значения по ул. Степной в х. </a:t>
                      </a:r>
                      <a:r>
                        <a:rPr lang="ru-RU" sz="1400" u="none" strike="noStrike" dirty="0" err="1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Широбоков</a:t>
                      </a:r>
                      <a:r>
                        <a:rPr lang="ru-RU" sz="14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 </a:t>
                      </a:r>
                      <a:endParaRPr lang="ru-RU" sz="14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 000,00</a:t>
                      </a:r>
                      <a:endParaRPr lang="ru-RU" sz="1200" b="0" i="0" u="none" strike="noStrike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2 182,02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10,00</a:t>
                      </a:r>
                      <a:endParaRPr lang="ru-RU" sz="1200" b="0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 492,02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84431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 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ИТОГО: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Times New Roman"/>
                      </a:endParaRPr>
                    </a:p>
                  </a:txBody>
                  <a:tcPr marL="3866" marR="3866" marT="3866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57 000,00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34 118,39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6 376,01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</a:rPr>
                        <a:t>97 494,40</a:t>
                      </a:r>
                      <a:endParaRPr lang="ru-RU" sz="1200" b="1" i="0" u="none" strike="noStrike" dirty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Calibri"/>
                      </a:endParaRPr>
                    </a:p>
                  </a:txBody>
                  <a:tcPr marL="3866" marR="3866" marT="3866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5"/>
          <p:cNvSpPr>
            <a:spLocks noGrp="1"/>
          </p:cNvSpPr>
          <p:nvPr>
            <p:ph type="title"/>
          </p:nvPr>
        </p:nvSpPr>
        <p:spPr>
          <a:xfrm>
            <a:off x="0" y="0"/>
            <a:ext cx="12190413" cy="692150"/>
          </a:xfrm>
          <a:solidFill>
            <a:schemeClr val="tx1">
              <a:lumMod val="75000"/>
              <a:lumOff val="25000"/>
            </a:schemeClr>
          </a:solidFill>
        </p:spPr>
        <p:txBody>
          <a:bodyPr/>
          <a:lstStyle/>
          <a:p>
            <a:pPr eaLnBrk="1" hangingPunct="1">
              <a:defRPr/>
            </a:pPr>
            <a:br>
              <a:rPr lang="ru-RU" altLang="ru-RU" sz="3600" dirty="0"/>
            </a:br>
            <a:r>
              <a:rPr lang="ru-RU" altLang="ru-RU" sz="3600" dirty="0">
                <a:solidFill>
                  <a:schemeClr val="tx2">
                    <a:lumMod val="10000"/>
                    <a:lumOff val="90000"/>
                  </a:schemeClr>
                </a:solidFill>
              </a:rPr>
              <a:t>Показатели доходов и расходов на одного жителя</a:t>
            </a:r>
            <a:br>
              <a:rPr lang="ru-RU" altLang="ru-RU" sz="3600" dirty="0">
                <a:solidFill>
                  <a:schemeClr val="tx2">
                    <a:lumMod val="10000"/>
                    <a:lumOff val="90000"/>
                  </a:schemeClr>
                </a:solidFill>
              </a:rPr>
            </a:br>
            <a:endParaRPr lang="ru-RU" altLang="ru-RU" sz="3600" dirty="0">
              <a:solidFill>
                <a:schemeClr val="tx2">
                  <a:lumMod val="10000"/>
                  <a:lumOff val="90000"/>
                </a:schemeClr>
              </a:solidFill>
            </a:endParaRPr>
          </a:p>
        </p:txBody>
      </p:sp>
      <p:sp>
        <p:nvSpPr>
          <p:cNvPr id="97282" name="Text Box 7"/>
          <p:cNvSpPr txBox="1">
            <a:spLocks noChangeArrowheads="1"/>
          </p:cNvSpPr>
          <p:nvPr/>
        </p:nvSpPr>
        <p:spPr bwMode="auto">
          <a:xfrm>
            <a:off x="4870450" y="944563"/>
            <a:ext cx="9239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sz="1400" dirty="0">
                <a:solidFill>
                  <a:schemeClr val="bg2">
                    <a:lumMod val="10000"/>
                  </a:schemeClr>
                </a:solidFill>
              </a:rPr>
              <a:t>тыс. руб.</a:t>
            </a:r>
          </a:p>
        </p:txBody>
      </p:sp>
      <p:sp>
        <p:nvSpPr>
          <p:cNvPr id="97283" name="Text Box 15"/>
          <p:cNvSpPr txBox="1">
            <a:spLocks noChangeArrowheads="1"/>
          </p:cNvSpPr>
          <p:nvPr/>
        </p:nvSpPr>
        <p:spPr bwMode="auto">
          <a:xfrm>
            <a:off x="500364" y="684213"/>
            <a:ext cx="466506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dirty="0">
                <a:solidFill>
                  <a:schemeClr val="bg2">
                    <a:lumMod val="10000"/>
                  </a:schemeClr>
                </a:solidFill>
              </a:rPr>
              <a:t>Показатели расходов на одного жителя</a:t>
            </a:r>
          </a:p>
        </p:txBody>
      </p:sp>
      <p:sp>
        <p:nvSpPr>
          <p:cNvPr id="97284" name="Text Box 16"/>
          <p:cNvSpPr txBox="1">
            <a:spLocks noChangeArrowheads="1"/>
          </p:cNvSpPr>
          <p:nvPr/>
        </p:nvSpPr>
        <p:spPr bwMode="auto">
          <a:xfrm>
            <a:off x="6383338" y="728663"/>
            <a:ext cx="5184775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 dirty="0">
                <a:solidFill>
                  <a:schemeClr val="bg2">
                    <a:lumMod val="10000"/>
                  </a:schemeClr>
                </a:solidFill>
              </a:rPr>
              <a:t>Показатели доходов на одного жителя</a:t>
            </a:r>
          </a:p>
        </p:txBody>
      </p:sp>
      <p:sp>
        <p:nvSpPr>
          <p:cNvPr id="97285" name="Rectangle 17"/>
          <p:cNvSpPr>
            <a:spLocks noChangeArrowheads="1"/>
          </p:cNvSpPr>
          <p:nvPr/>
        </p:nvSpPr>
        <p:spPr bwMode="auto">
          <a:xfrm>
            <a:off x="10993640" y="1044136"/>
            <a:ext cx="9239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ru-RU" sz="1400" dirty="0">
                <a:solidFill>
                  <a:schemeClr val="bg2">
                    <a:lumMod val="10000"/>
                  </a:schemeClr>
                </a:solidFill>
              </a:rPr>
              <a:t>тыс. руб.</a:t>
            </a:r>
          </a:p>
        </p:txBody>
      </p:sp>
      <p:graphicFrame>
        <p:nvGraphicFramePr>
          <p:cNvPr id="2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0757553"/>
              </p:ext>
            </p:extLst>
          </p:nvPr>
        </p:nvGraphicFramePr>
        <p:xfrm>
          <a:off x="49622" y="1188397"/>
          <a:ext cx="6315075" cy="5827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Диаграмма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7468271"/>
              </p:ext>
            </p:extLst>
          </p:nvPr>
        </p:nvGraphicFramePr>
        <p:xfrm>
          <a:off x="5735166" y="1541463"/>
          <a:ext cx="6784975" cy="521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9138" y="44450"/>
            <a:ext cx="11039475" cy="52625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4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актная информ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4000" b="1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Бюджет для граждан»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лен финансовым управлением администрации Изобильненского муниципального округа Ставропольского края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е управление администрации Изобильненского муниципального округа Ставропольского края находится по адресу: г. Изобильный, Ставропольского края, ул. Ленина, д. 15 Телефон 88654528024, электронная почта fuaimr@bk.ru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chemeClr val="tx1">
                  <a:lumMod val="85000"/>
                  <a:lumOff val="1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dirty="0">
                <a:solidFill>
                  <a:schemeClr val="tx1">
                    <a:lumMod val="85000"/>
                    <a:lumOff val="1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ю о бюджете можно получить на официальном сайте Изобильненского муниципального округа Ставропольского края по адресу www.izobadmin.ru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Прямоугольник 1"/>
          <p:cNvSpPr/>
          <p:nvPr/>
        </p:nvSpPr>
        <p:spPr>
          <a:xfrm>
            <a:off x="295275" y="476250"/>
            <a:ext cx="11809413" cy="634047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Кассовое обслуживание исполнения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роведение и учет операций по кассовым поступлениям в бюджет  и кассовым выплатам из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Лимит бюджетных обязательств</a:t>
            </a:r>
            <a:r>
              <a:rPr 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- объем прав в денежном выражении на принятие бюджетным учреждением бюджетных обязательств и (или) их исполнение в  текущем финансовом году (текущем финансовом году и плановом периоде)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Межбюджетные отношения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взаимоотношения между публично-правовыми образованиями по вопросам регулирования бюджетных правоотношений, организации и осуществления бюджетного процесс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Межбюджетные трансферты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средства, предоставляемые одним бюджетом бюджетной системы Российской Федерации другому бюджету бюджетной системы Российской Федерации. 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Отчетный финансовый год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год, предшествующий текущему финансовому году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Очередной финансовый год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год, следующий за текущим финансовым годом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Получатель бюджетных средств (получатель средств соответствующего бюджета)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орган государственной власти (государственный орган), орган управления государственным внебюджетным фондом, орган местного самоуправления, орган местной администрации, находящееся в ведении главного распорядителя (распорядителя) бюджетных средств бюджетное учреждение, имеющие право на принятие и (или) исполнение бюджетных обязательств за счет средств соответствующего бюджета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Профицит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превышение доходов бюджета над его расходами.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Расходы бюджета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выплачиваемые из бюджета денежные средства, за исключением средств, являющихся в соответствии с Бюджетным кодексом источниками финансирования дефицита бюджета. </a:t>
            </a:r>
          </a:p>
          <a:p>
            <a:pPr>
              <a:defRPr/>
            </a:pP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cs typeface="+mn-cs"/>
            </a:endParaRPr>
          </a:p>
          <a:p>
            <a:pPr>
              <a:defRPr/>
            </a:pPr>
            <a:r>
              <a:rPr lang="ru-RU" sz="14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Текущий финансовый год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 - год, в котором осуществляется исполнение бюджета, составление и рассмотрение проекта бюджета на очередной финансовый год (очередной финансовый год и плановый период).</a:t>
            </a:r>
          </a:p>
        </p:txBody>
      </p:sp>
      <p:sp>
        <p:nvSpPr>
          <p:cNvPr id="7" name="Rectangle 14"/>
          <p:cNvSpPr txBox="1">
            <a:spLocks noChangeArrowheads="1"/>
          </p:cNvSpPr>
          <p:nvPr/>
        </p:nvSpPr>
        <p:spPr>
          <a:xfrm>
            <a:off x="334963" y="-26988"/>
            <a:ext cx="11133137" cy="1008063"/>
          </a:xfrm>
          <a:prstGeom prst="rect">
            <a:avLst/>
          </a:prstGeom>
        </p:spPr>
        <p:txBody>
          <a:bodyPr/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tabLst>
                <a:tab pos="1438275" algn="l"/>
              </a:tabLst>
              <a:defRPr/>
            </a:pPr>
            <a:r>
              <a:rPr lang="ru-RU" altLang="ru-RU" sz="2800" b="1" kern="0" dirty="0">
                <a:solidFill>
                  <a:schemeClr val="tx1">
                    <a:lumMod val="95000"/>
                    <a:lumOff val="5000"/>
                  </a:schemeClr>
                </a:solidFill>
                <a:latin typeface="Lucida Console" pitchFamily="49" charset="0"/>
              </a:rPr>
              <a:t>ГЛОССАРИЙ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-242888"/>
            <a:ext cx="10971213" cy="1143001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altLang="ru-RU" sz="3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Административно – территориальное деление</a:t>
            </a:r>
          </a:p>
        </p:txBody>
      </p:sp>
      <p:pic>
        <p:nvPicPr>
          <p:cNvPr id="38914" name="Picture 2" descr="C:\Users\finovme\Desktop\Сканы\карта .png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2336800" y="1052513"/>
            <a:ext cx="5486400" cy="4103687"/>
          </a:xfrm>
        </p:spPr>
      </p:pic>
      <p:sp>
        <p:nvSpPr>
          <p:cNvPr id="209925" name="Rectangle 5"/>
          <p:cNvSpPr>
            <a:spLocks noGrp="1" noChangeArrowheads="1"/>
          </p:cNvSpPr>
          <p:nvPr>
            <p:ph sz="half" idx="2"/>
          </p:nvPr>
        </p:nvSpPr>
        <p:spPr>
          <a:xfrm>
            <a:off x="190500" y="620713"/>
            <a:ext cx="3600450" cy="5903912"/>
          </a:xfrm>
        </p:spPr>
        <p:txBody>
          <a:bodyPr>
            <a:normAutofit lnSpcReduction="10000"/>
          </a:bodyPr>
          <a:lstStyle/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В состав территории муниципального округа входят </a:t>
            </a:r>
            <a:r>
              <a:rPr lang="ru-RU" altLang="ru-RU" sz="16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25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населенных пунктов: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endParaRPr lang="ru-RU" alt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Баклановская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Беляев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Гаевская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город Изобильный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Каменнобродская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Козлов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Красная Балка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селок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Левоегорлыкский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ло Московское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ло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Найденовка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селок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Новоизобильный</a:t>
            </a:r>
            <a:endParaRPr lang="ru-RU" alt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Новотроицкая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селок Передовой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ло Подлужное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ло Птичье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Рождественская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селок Рыздвяный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Смыков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селок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Солнечнодольск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Спорный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Староизобильная</a:t>
            </a: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хутор Сухой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ело Тищенское </a:t>
            </a: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станица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Филимоновская</a:t>
            </a:r>
            <a:endParaRPr lang="ru-RU" altLang="ru-RU" sz="14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  <a:p>
            <a:pPr marL="0" indent="0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Tx/>
              <a:buNone/>
              <a:tabLst>
                <a:tab pos="0" algn="l"/>
              </a:tabLst>
              <a:defRPr/>
            </a:pPr>
            <a:r>
              <a:rPr lang="ru-RU" altLang="ru-RU" sz="1400" b="1" dirty="0">
                <a:solidFill>
                  <a:schemeClr val="tx1">
                    <a:lumMod val="95000"/>
                    <a:lumOff val="5000"/>
                  </a:schemeClr>
                </a:solidFill>
                <a:cs typeface="Times New Roman" panose="02020603050405020304" pitchFamily="18" charset="0"/>
              </a:rPr>
              <a:t>хутор </a:t>
            </a:r>
            <a:r>
              <a:rPr lang="ru-RU" altLang="ru-RU" sz="1400" b="1" dirty="0" err="1">
                <a:solidFill>
                  <a:schemeClr val="tx1">
                    <a:lumMod val="95000"/>
                    <a:lumOff val="5000"/>
                  </a:schemeClr>
                </a:solidFill>
                <a:cs typeface="Times New Roman" panose="02020603050405020304" pitchFamily="18" charset="0"/>
              </a:rPr>
              <a:t>Широбоков</a:t>
            </a:r>
            <a:r>
              <a:rPr lang="ru-RU" altLang="ru-RU" sz="18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.</a:t>
            </a:r>
          </a:p>
          <a:p>
            <a:pPr marL="365760" indent="-256032" algn="just" fontAlgn="auto">
              <a:lnSpc>
                <a:spcPct val="80000"/>
              </a:lnSpc>
              <a:spcAft>
                <a:spcPts val="0"/>
              </a:spcAft>
              <a:buClr>
                <a:schemeClr val="accent3"/>
              </a:buClr>
              <a:buFont typeface="Georgia"/>
              <a:buChar char="•"/>
              <a:defRPr/>
            </a:pPr>
            <a:endParaRPr lang="ru-RU" altLang="ru-RU" sz="1800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269" name="TextBox 1"/>
          <p:cNvSpPr txBox="1">
            <a:spLocks noChangeArrowheads="1"/>
          </p:cNvSpPr>
          <p:nvPr/>
        </p:nvSpPr>
        <p:spPr bwMode="auto">
          <a:xfrm>
            <a:off x="2506426" y="5300663"/>
            <a:ext cx="5432899" cy="92333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Административным центром муниципального 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sz="18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округа является город </a:t>
            </a:r>
            <a:r>
              <a:rPr lang="ru-RU" altLang="ru-RU" sz="1800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cs typeface="+mn-cs"/>
              </a:rPr>
              <a:t>Изобильный.</a:t>
            </a:r>
          </a:p>
          <a:p>
            <a:pPr algn="ctr" eaLnBrk="1" hangingPunct="1">
              <a:spcBef>
                <a:spcPct val="0"/>
              </a:spcBef>
              <a:buFontTx/>
              <a:buNone/>
              <a:defRPr/>
            </a:pPr>
            <a:endParaRPr lang="ru-RU" altLang="ru-RU" sz="1800" b="1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723187" y="692696"/>
            <a:ext cx="4276725" cy="587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lnSpc>
                <a:spcPct val="90000"/>
              </a:lnSpc>
              <a:defRPr/>
            </a:pP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Муниципальное образование – </a:t>
            </a:r>
            <a:r>
              <a:rPr lang="ru-RU" altLang="ru-RU" sz="13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Изобильненский</a:t>
            </a: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муниципальный округ Ставропольского края образован в границах Изобильненского района, наделен статусом муниципального округа в соответствии с Законом Ставропольского края от 30 мая 2023 года №45-кз «</a:t>
            </a:r>
            <a:r>
              <a:rPr 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О наделении Изобильненского городского округа Ставропольского края статусом муниципального округа</a:t>
            </a: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».</a:t>
            </a:r>
          </a:p>
          <a:p>
            <a:pPr algn="just">
              <a:lnSpc>
                <a:spcPct val="90000"/>
              </a:lnSpc>
              <a:defRPr/>
            </a:pPr>
            <a:endParaRPr lang="ru-RU" altLang="ru-RU" sz="13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cs typeface="+mn-cs"/>
            </a:endParaRPr>
          </a:p>
          <a:p>
            <a:pPr algn="just">
              <a:tabLst>
                <a:tab pos="0" algn="l"/>
              </a:tabLst>
              <a:defRPr/>
            </a:pPr>
            <a:r>
              <a:rPr lang="ru-RU" altLang="ru-RU" sz="1300" b="1" dirty="0" err="1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Изобильненский</a:t>
            </a: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муниципальный округ расположен в северо-западной части Ставропольского края. </a:t>
            </a:r>
            <a:r>
              <a:rPr 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Общая площадь района составляет 193518 га, в том числе сельхозугодий - 166768 га, из них пашни - 127933 га.</a:t>
            </a:r>
            <a:endParaRPr lang="ru-RU" altLang="ru-RU" sz="13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  <a:p>
            <a:pPr algn="just">
              <a:tabLst>
                <a:tab pos="0" algn="l"/>
              </a:tabLst>
              <a:defRPr/>
            </a:pP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+mn-cs"/>
              </a:rPr>
              <a:t> Природные условия округа характеризуются умеренно-континентальным климатом и в целом, спокойным рельефом, лучшими по качеству почвами – черноземом. Рельеф округа прорезан Большим Ставропольским каналом и руслами рек Егорлык, Ташла, Татарка, многочисленными прудами, а также Новотроицким водохранилищем. </a:t>
            </a:r>
          </a:p>
          <a:p>
            <a:pPr algn="just">
              <a:tabLst>
                <a:tab pos="0" algn="l"/>
              </a:tabLst>
              <a:defRPr/>
            </a:pPr>
            <a:r>
              <a:rPr lang="ru-RU" alt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cs typeface="+mn-cs"/>
              </a:rPr>
              <a:t>	</a:t>
            </a:r>
            <a:r>
              <a:rPr lang="ru-RU" sz="13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13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В районе имеется развитая сеть автомобильных дорог с твердым покрытием. Общая протяженность автомобильных дорог краевого значения 319,7 км, ведомственного значения - 310,2 км, городских - 121,2 км.</a:t>
            </a:r>
            <a:endParaRPr lang="ru-RU" sz="13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0413" cy="908050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br>
              <a:rPr lang="ru-RU" altLang="ru-RU" sz="2800" b="1" dirty="0">
                <a:solidFill>
                  <a:schemeClr val="bg1"/>
                </a:solidFill>
              </a:rPr>
            </a:br>
            <a:r>
              <a:rPr lang="ru-RU" altLang="ru-RU" sz="2800" b="1" dirty="0">
                <a:solidFill>
                  <a:schemeClr val="bg1"/>
                </a:solidFill>
                <a:latin typeface="Corbel" pitchFamily="34" charset="0"/>
              </a:rPr>
              <a:t>Основные показатели социально – экономического развития  Изобильненского муниципального округа Ставропольского края</a:t>
            </a:r>
            <a:br>
              <a:rPr lang="ru-RU" altLang="ru-RU" b="1" dirty="0">
                <a:solidFill>
                  <a:schemeClr val="bg1"/>
                </a:solidFill>
              </a:rPr>
            </a:br>
            <a:endParaRPr lang="ru-RU" alt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40035" name="Group 99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55382255"/>
              </p:ext>
            </p:extLst>
          </p:nvPr>
        </p:nvGraphicFramePr>
        <p:xfrm>
          <a:off x="46038" y="1341438"/>
          <a:ext cx="12144375" cy="5340807"/>
        </p:xfrm>
        <a:graphic>
          <a:graphicData uri="http://schemas.openxmlformats.org/drawingml/2006/table">
            <a:tbl>
              <a:tblPr/>
              <a:tblGrid>
                <a:gridCol w="53197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055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78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98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7187">
                <a:tc rowSpan="2"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оказатели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23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24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25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26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27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51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отчет</a:t>
                      </a:r>
                    </a:p>
                  </a:txBody>
                  <a:tcPr marL="91428" marR="91428" marT="45714" marB="45714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оценка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гноз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гноз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гноз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604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Численность населения, тыс. чел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04,5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04,5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04,3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04,4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04,5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446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дукция сельского хозяйства, млн. руб., 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5 47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6 809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7 15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8 101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9 905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676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just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дукция растениеводства, млн. руб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9 386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 3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0 500,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1 3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22 9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445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Продукция животноводства, млн. руб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084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509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65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801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7 005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33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Оборот розничной торговли, млн. руб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5 201,09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5 565,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5 830,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060,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 250,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5616">
                <a:tc>
                  <a:txBody>
                    <a:bodyPr/>
                    <a:lstStyle/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Численность рабочей силы, тыс. чел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,29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,34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,36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,38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,41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5616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Среднегодовая численность занятых в экономике, тыс. чел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0,99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1,01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1,02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1,04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1,05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1444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Уровень зарегистрированной безработицы, процент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2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2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2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2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0,2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44459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Общая численность безработных, тыс. чел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,6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,4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,3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,3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4,3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181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Фонд начисленной заработной платы работников организаций, млн. руб.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1 332,1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2 465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3 512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4 55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15 54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18147"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Номинальная начисленная среднемесячная заработная плата работников, рублей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56 945,6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0 5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4 7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68 40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defTabSz="45720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457200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457200"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4572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charset="0"/>
                        </a:rPr>
                        <a:t>71 200,0</a:t>
                      </a:r>
                    </a:p>
                  </a:txBody>
                  <a:tcPr marL="91428" marR="91428" marT="45714" marB="4571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-100013"/>
            <a:ext cx="12190413" cy="1008063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 fontScale="90000"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3200" b="1" dirty="0">
                <a:solidFill>
                  <a:schemeClr val="bg1"/>
                </a:solidFill>
              </a:rPr>
              <a:t>Основные цели и направления бюджетной политики Изобильненского муниципального округа Ставропольского края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477750" y="1173717"/>
            <a:ext cx="1665642" cy="578273"/>
          </a:xfrm>
          <a:prstGeom prst="roundRect">
            <a:avLst>
              <a:gd name="adj" fmla="val 50000"/>
            </a:avLst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0" rIns="180000" anchor="ctr"/>
          <a:lstStyle>
            <a:lvl1pPr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800" b="1" dirty="0">
                <a:solidFill>
                  <a:schemeClr val="accent6">
                    <a:lumMod val="75000"/>
                  </a:schemeClr>
                </a:solidFill>
                <a:latin typeface="Arial" charset="0"/>
                <a:cs typeface="Tahoma" pitchFamily="34" charset="0"/>
              </a:rPr>
              <a:t>ЦЕЛЬ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824142" y="980728"/>
            <a:ext cx="8242105" cy="964253"/>
          </a:xfrm>
          <a:prstGeom prst="roundRect">
            <a:avLst>
              <a:gd name="adj" fmla="val 50000"/>
            </a:avLst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schemeClr val="accent6">
                    <a:lumMod val="75000"/>
                  </a:schemeClr>
                </a:solidFill>
                <a:latin typeface="Arial Black" panose="020B0A04020102020204" pitchFamily="34" charset="0"/>
              </a:rPr>
              <a:t>Обеспечение ответственной бюджетной политики округа и  нара­щивание устойчивости муниципальных финансов</a:t>
            </a:r>
            <a:endParaRPr lang="ru-RU" sz="1600" b="1" dirty="0">
              <a:solidFill>
                <a:schemeClr val="accent6">
                  <a:lumMod val="75000"/>
                </a:schemeClr>
              </a:solidFill>
              <a:latin typeface="Arial Black" panose="020B0A0402010202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8542" y="3119038"/>
            <a:ext cx="3096344" cy="578273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>
            <a:lvl1pPr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2800" b="1" dirty="0">
                <a:solidFill>
                  <a:srgbClr val="404040"/>
                </a:solidFill>
                <a:latin typeface="Arial" charset="0"/>
                <a:cs typeface="Tahoma" pitchFamily="34" charset="0"/>
              </a:rPr>
              <a:t>НАПРАВЛЕНИ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562464" y="6093296"/>
            <a:ext cx="8503782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Развитие инициативного бюджетирования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502918" y="2996952"/>
            <a:ext cx="8563328" cy="936104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altLang="ru-RU" b="1" dirty="0">
              <a:solidFill>
                <a:schemeClr val="tx1"/>
              </a:solidFill>
              <a:latin typeface="Comic Sans MS" pitchFamily="66" charset="0"/>
            </a:endParaRPr>
          </a:p>
          <a:p>
            <a:pPr algn="ctr"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Обеспечение долгосрочной устойчивости и сбалансированности бюджетной системы муниципального округа 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502920" y="2312876"/>
            <a:ext cx="8575566" cy="504056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Управление собственными доходами муниципального округа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3502919" y="4077072"/>
            <a:ext cx="8563328" cy="1080120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Улучшение качества жизни населения округа и адресное решение социальных проблем путем достижения национальных и региональных целей развития на территории округа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502920" y="5296666"/>
            <a:ext cx="8563326" cy="652614"/>
          </a:xfrm>
          <a:prstGeom prst="roundRect">
            <a:avLst>
              <a:gd name="adj" fmla="val 50000"/>
            </a:avLst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18000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Повышение эффективности бюджетных расходов</a:t>
            </a:r>
            <a:endParaRPr lang="ru-RU" sz="1600" b="1" dirty="0">
              <a:solidFill>
                <a:schemeClr val="accent6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69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12190413" cy="1052513"/>
          </a:xfrm>
          <a:solidFill>
            <a:schemeClr val="tx1">
              <a:lumMod val="75000"/>
              <a:lumOff val="25000"/>
            </a:schemeClr>
          </a:solidFill>
        </p:spPr>
        <p:txBody>
          <a:bodyPr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altLang="ru-RU" sz="3000" b="1" dirty="0">
                <a:solidFill>
                  <a:schemeClr val="bg1"/>
                </a:solidFill>
              </a:rPr>
              <a:t>Основные направления налоговой политики Изобильненского муниципального округа Ставропольского края</a:t>
            </a:r>
          </a:p>
        </p:txBody>
      </p:sp>
      <p:sp>
        <p:nvSpPr>
          <p:cNvPr id="26627" name="Rectangle 3"/>
          <p:cNvSpPr>
            <a:spLocks noGrp="1" noChangeArrowheads="1"/>
          </p:cNvSpPr>
          <p:nvPr>
            <p:ph idx="1"/>
          </p:nvPr>
        </p:nvSpPr>
        <p:spPr>
          <a:xfrm>
            <a:off x="239713" y="1268413"/>
            <a:ext cx="11710987" cy="5184775"/>
          </a:xfrm>
        </p:spPr>
        <p:txBody>
          <a:bodyPr>
            <a:normAutofit fontScale="92500" lnSpcReduction="20000"/>
          </a:bodyPr>
          <a:lstStyle/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None/>
              <a:defRPr/>
            </a:pPr>
            <a:r>
              <a:rPr lang="ru-RU" altLang="ru-RU" b="1" u="sng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Основными направлениями налоговой политики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 муниципального округа на 2025 год и плановый период 2026 и 2027 годов являются:</a:t>
            </a:r>
          </a:p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AutoNum type="arabicPeriod"/>
              <a:defRPr/>
            </a:pP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Укрепление налогового потенциала бюджета округа за счет наращивания стабильных доходных источников и мобилизации в бюджет округа имеющихся резервов;</a:t>
            </a:r>
          </a:p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AutoNum type="arabicPeriod"/>
              <a:defRPr/>
            </a:pP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anose="030F0702030302020204" pitchFamily="66" charset="0"/>
              </a:rPr>
              <a:t>Стимулирование инвестиционной и инновационной активности хозяйствующих субъектов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;</a:t>
            </a:r>
          </a:p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AutoNum type="arabicPeriod"/>
              <a:defRPr/>
            </a:pP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anose="030F0702030302020204" pitchFamily="66" charset="0"/>
              </a:rPr>
              <a:t>Оценка эффективности налоговых расходов муниципального округа</a:t>
            </a:r>
            <a:r>
              <a:rPr lang="ru-RU" alt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;</a:t>
            </a:r>
          </a:p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AutoNum type="arabicPeriod"/>
              <a:defRPr/>
            </a:pP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anose="030F0702030302020204" pitchFamily="66" charset="0"/>
              </a:rPr>
              <a:t>Повышение эффективности управления муниципальными активами</a:t>
            </a:r>
            <a:r>
              <a:rPr lang="ru-RU" altLang="ru-RU" sz="1800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itchFamily="66" charset="0"/>
              </a:rPr>
              <a:t>.</a:t>
            </a:r>
          </a:p>
          <a:p>
            <a:pPr marL="609600" indent="-609600" algn="just" fontAlgn="auto">
              <a:spcAft>
                <a:spcPts val="0"/>
              </a:spcAft>
              <a:buClr>
                <a:schemeClr val="accent3"/>
              </a:buClr>
              <a:buFontTx/>
              <a:buAutoNum type="arabicPeriod"/>
              <a:defRPr/>
            </a:pP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Comic Sans MS" panose="030F0702030302020204" pitchFamily="66" charset="0"/>
              </a:rPr>
              <a:t>Совершенствование администрирования налоговых и неналоговых доходов бюджета округа.</a:t>
            </a:r>
            <a:endParaRPr lang="ru-RU" altLang="ru-RU" dirty="0">
              <a:solidFill>
                <a:schemeClr val="tx1">
                  <a:lumMod val="95000"/>
                  <a:lumOff val="5000"/>
                </a:schemeClr>
              </a:solidFill>
              <a:latin typeface="Comic Sans MS" pitchFamily="66" charset="0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kIvLrvJEOFfYJDpIwJ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kIvLrvJEOFfYJDpIwJ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kIvLrvJEOFfYJDpIwJ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kIvLrvJEOFfYJDpIwJp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mkm6_bvEGpZLHoYNMBC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2_Параллак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Параллакс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itchFamily="66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omic Sans MS" pitchFamily="66" charset="0"/>
          </a:defRPr>
        </a:defPPr>
      </a:lstStyle>
    </a:lnDef>
  </a:objectDefaults>
  <a:extraClrSchemeLst>
    <a:extraClrScheme>
      <a:clrScheme name="2_Параллакс 1">
        <a:dk1>
          <a:srgbClr val="000000"/>
        </a:dk1>
        <a:lt1>
          <a:srgbClr val="FFFFFF"/>
        </a:lt1>
        <a:dk2>
          <a:srgbClr val="212121"/>
        </a:dk2>
        <a:lt2>
          <a:srgbClr val="CDD0D1"/>
        </a:lt2>
        <a:accent1>
          <a:srgbClr val="BC1C1C"/>
        </a:accent1>
        <a:accent2>
          <a:srgbClr val="F67534"/>
        </a:accent2>
        <a:accent3>
          <a:srgbClr val="FFFFFF"/>
        </a:accent3>
        <a:accent4>
          <a:srgbClr val="000000"/>
        </a:accent4>
        <a:accent5>
          <a:srgbClr val="DAABAB"/>
        </a:accent5>
        <a:accent6>
          <a:srgbClr val="DF692E"/>
        </a:accent6>
        <a:hlink>
          <a:srgbClr val="E46416"/>
        </a:hlink>
        <a:folHlink>
          <a:srgbClr val="EE934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Городская">
  <a:themeElements>
    <a:clrScheme name="NewsPrint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Городская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HG明朝B"/>
        <a:font script="Hang" typeface="맑은 고딕"/>
        <a:font script="Hans" typeface="宋体"/>
        <a:font script="Hant" typeface="新細明體"/>
        <a:font script="Arab" typeface="Arial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Городская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  <a:satMod val="255000"/>
              </a:schemeClr>
            </a:gs>
            <a:gs pos="55000">
              <a:schemeClr val="phClr">
                <a:tint val="12000"/>
                <a:satMod val="255000"/>
              </a:schemeClr>
            </a:gs>
            <a:gs pos="100000">
              <a:schemeClr val="phClr">
                <a:tint val="45000"/>
                <a:satMod val="250000"/>
              </a:schemeClr>
            </a:gs>
          </a:gsLst>
          <a:path path="circle">
            <a:fillToRect l="-40000" t="-90000" r="140000" b="190000"/>
          </a:path>
        </a:gradFill>
        <a:gradFill rotWithShape="1">
          <a:gsLst>
            <a:gs pos="0">
              <a:schemeClr val="phClr">
                <a:tint val="43000"/>
                <a:satMod val="165000"/>
              </a:schemeClr>
            </a:gs>
            <a:gs pos="55000">
              <a:schemeClr val="phClr">
                <a:tint val="83000"/>
                <a:satMod val="155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-40000" t="-90000" r="140000" b="19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1500" dist="254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flat" dir="t">
              <a:rot lat="0" lon="0" rev="20040000"/>
            </a:lightRig>
          </a:scene3d>
          <a:sp3d contourW="12700" prstMaterial="dkEdge">
            <a:bevelT w="25400" h="38100" prst="convex"/>
            <a:contourClr>
              <a:schemeClr val="phClr">
                <a:satMod val="115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100000">
              <a:schemeClr val="phClr">
                <a:tint val="80000"/>
                <a:satMod val="250000"/>
              </a:schemeClr>
            </a:gs>
            <a:gs pos="60000">
              <a:schemeClr val="phClr">
                <a:shade val="38000"/>
                <a:satMod val="175000"/>
              </a:schemeClr>
            </a:gs>
            <a:gs pos="0">
              <a:schemeClr val="phClr">
                <a:shade val="30000"/>
                <a:satMod val="175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48000"/>
              </a:schemeClr>
              <a:schemeClr val="phClr">
                <a:tint val="96000"/>
                <a:satMod val="150000"/>
              </a:schemeClr>
            </a:duotone>
          </a:blip>
          <a:tile tx="0" ty="0" sx="80000" sy="8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081</TotalTime>
  <Words>6975</Words>
  <Application>Microsoft Office PowerPoint</Application>
  <PresentationFormat>Произвольный</PresentationFormat>
  <Paragraphs>1894</Paragraphs>
  <Slides>45</Slides>
  <Notes>2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5</vt:i4>
      </vt:variant>
    </vt:vector>
  </HeadingPairs>
  <TitlesOfParts>
    <vt:vector size="60" baseType="lpstr">
      <vt:lpstr>Arial</vt:lpstr>
      <vt:lpstr>Arial Black</vt:lpstr>
      <vt:lpstr>Calibri</vt:lpstr>
      <vt:lpstr>Comic Sans MS</vt:lpstr>
      <vt:lpstr>Corbel</vt:lpstr>
      <vt:lpstr>Franklin Gothic Medium Cond</vt:lpstr>
      <vt:lpstr>Georgia</vt:lpstr>
      <vt:lpstr>Lucida Console</vt:lpstr>
      <vt:lpstr>Times New Roman</vt:lpstr>
      <vt:lpstr>Trebuchet MS</vt:lpstr>
      <vt:lpstr>Wingdings</vt:lpstr>
      <vt:lpstr>Wingdings 2</vt:lpstr>
      <vt:lpstr>2_Параллакс</vt:lpstr>
      <vt:lpstr>Городская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Административно – территориальное деление</vt:lpstr>
      <vt:lpstr> Основные показатели социально – экономического развития  Изобильненского муниципального округа Ставропольского края </vt:lpstr>
      <vt:lpstr>Основные цели и направления бюджетной политики Изобильненского муниципального округа Ставропольского края</vt:lpstr>
      <vt:lpstr>Основные направления налоговой политики Изобильненского муниципального округа Ставропольского края</vt:lpstr>
      <vt:lpstr>Уровень долговой нагрузки на бюджет Изобильненского муниципального округа Ставропольского края</vt:lpstr>
      <vt:lpstr>  Результаты оценки качества управления бюджетным процессом и стратегического планирования в Изобильненском муниципальном округе Ставропольского края  </vt:lpstr>
      <vt:lpstr>Основные характеристики бюджета Изобильненского муниципального округа Ставропольского края на 2025 год и плановый период 2026 и 2027 годов</vt:lpstr>
      <vt:lpstr>Безвозмездные поступления от других бюджетов бюджетной системы Российской Федерации </vt:lpstr>
      <vt:lpstr>Структура налоговых и неналоговых доходов на 2018 - 2021 годы </vt:lpstr>
      <vt:lpstr>Презентация PowerPoint</vt:lpstr>
      <vt:lpstr>Презентация PowerPoint</vt:lpstr>
      <vt:lpstr>Презентация PowerPoint</vt:lpstr>
      <vt:lpstr>РАСХОДЫ БЮДЖЕТА ПО РАЗДЕЛАМ И ПОДРАЗДЕЛАМ КЛАССИФИКАЦИИ РАСХОДОВ БЮДЖЕТА НА 2023-2026 ГОДЫ </vt:lpstr>
      <vt:lpstr>Структура расходов бюджета  </vt:lpstr>
      <vt:lpstr>Презентация PowerPoint</vt:lpstr>
      <vt:lpstr>Расходы бюджета в разрезе видов расходов бюджета на 2025 год и плановый период 2026 и 2027 годы </vt:lpstr>
      <vt:lpstr> Сведения о расходах бюджета в разрезе муниципальных программ </vt:lpstr>
      <vt:lpstr>Информация о расходах бюджета в разрезе муниципальных программ с данными о достигнутых и планируемых целевых показателях программ*</vt:lpstr>
      <vt:lpstr>Информация о расходах бюджета в разрезе муниципальных программ с данными о достигнутых и планируемых целевых показателях программ</vt:lpstr>
      <vt:lpstr>Информация о расходах бюджета в разрезе муниципальных программ с данными о достигнутых и планируемых целевых показателях программ</vt:lpstr>
      <vt:lpstr>Информация о расходах бюджета в разрезе муниципальных программ с данными о достигнутых и планируемых целевых показателях программ</vt:lpstr>
      <vt:lpstr>Информация о расходах бюджета в разрезе муниципальных программ с данными о достигнутых и планируемых целевых показателях программ</vt:lpstr>
      <vt:lpstr>Информация о расходах бюджета в разрезе муниципальных программ с данными о достигнутых и планируемых целевых показателях программ</vt:lpstr>
      <vt:lpstr>Национальные проекты в 2025 году</vt:lpstr>
      <vt:lpstr>РАСХОДЫ   ОТРАСЛЕЙ   СОЦИАЛЬНО-КУЛЬТУРНОЙ   СФЕРЫ</vt:lpstr>
      <vt:lpstr>Структура расходов бюджета по социальной политике Изобильненского муниципального округа</vt:lpstr>
      <vt:lpstr>Презентация PowerPoint</vt:lpstr>
      <vt:lpstr>Презентация PowerPoint</vt:lpstr>
      <vt:lpstr>Предоставление мер социальной поддержки семьям и детям</vt:lpstr>
      <vt:lpstr>Социальный контракт</vt:lpstr>
      <vt:lpstr>Структура расходов бюджета в сфере образования Изобильненского муниципального округа</vt:lpstr>
      <vt:lpstr>Расходы на содержание детей-сирот</vt:lpstr>
      <vt:lpstr>Сведения об учреждениях в сфере образования</vt:lpstr>
      <vt:lpstr>Средства краевого бюджета на образование  в Изобильненском муниципальном округе</vt:lpstr>
      <vt:lpstr>Структура расходов бюджета в сфере культуры Изобильненского муниципального округа</vt:lpstr>
      <vt:lpstr>Структура расходов бюджета в сфере физической культуры и спорта Изобильненского муниципального округа</vt:lpstr>
      <vt:lpstr>РЕАЛИЗОВАННЫЕ  МЕСТНЫЕ   ИНИЦИАТИВЫ в 2024 году</vt:lpstr>
      <vt:lpstr>Презентация PowerPoint</vt:lpstr>
      <vt:lpstr> Показатели доходов и расходов на одного жителя </vt:lpstr>
      <vt:lpstr>Презентация PowerPoint</vt:lpstr>
    </vt:vector>
  </TitlesOfParts>
  <Company>ФУАИМРС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крытый бюджет Изобильненского городского округа Ставропольского края на 2019 год и плановый период 2020-2021 годов</dc:title>
  <dc:creator>Мария Квасникова</dc:creator>
  <cp:lastModifiedBy>Овсянников Михаил Евгеньевич</cp:lastModifiedBy>
  <cp:revision>803</cp:revision>
  <cp:lastPrinted>2024-11-21T06:20:58Z</cp:lastPrinted>
  <dcterms:created xsi:type="dcterms:W3CDTF">2019-02-05T12:44:33Z</dcterms:created>
  <dcterms:modified xsi:type="dcterms:W3CDTF">2024-11-21T14:42:17Z</dcterms:modified>
</cp:coreProperties>
</file>